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  <p:sldMasterId id="2147483734" r:id="rId2"/>
    <p:sldMasterId id="2147483758" r:id="rId3"/>
    <p:sldMasterId id="2147483781" r:id="rId4"/>
  </p:sldMasterIdLst>
  <p:notesMasterIdLst>
    <p:notesMasterId r:id="rId37"/>
  </p:notesMasterIdLst>
  <p:handoutMasterIdLst>
    <p:handoutMasterId r:id="rId38"/>
  </p:handoutMasterIdLst>
  <p:sldIdLst>
    <p:sldId id="344" r:id="rId5"/>
    <p:sldId id="336" r:id="rId6"/>
    <p:sldId id="310" r:id="rId7"/>
    <p:sldId id="350" r:id="rId8"/>
    <p:sldId id="349" r:id="rId9"/>
    <p:sldId id="329" r:id="rId10"/>
    <p:sldId id="330" r:id="rId11"/>
    <p:sldId id="338" r:id="rId12"/>
    <p:sldId id="343" r:id="rId13"/>
    <p:sldId id="340" r:id="rId14"/>
    <p:sldId id="346" r:id="rId15"/>
    <p:sldId id="345" r:id="rId16"/>
    <p:sldId id="348" r:id="rId17"/>
    <p:sldId id="342" r:id="rId18"/>
    <p:sldId id="341" r:id="rId19"/>
    <p:sldId id="339" r:id="rId20"/>
    <p:sldId id="351" r:id="rId21"/>
    <p:sldId id="355" r:id="rId22"/>
    <p:sldId id="353" r:id="rId23"/>
    <p:sldId id="356" r:id="rId24"/>
    <p:sldId id="352" r:id="rId25"/>
    <p:sldId id="357" r:id="rId26"/>
    <p:sldId id="358" r:id="rId27"/>
    <p:sldId id="354" r:id="rId28"/>
    <p:sldId id="331" r:id="rId29"/>
    <p:sldId id="304" r:id="rId30"/>
    <p:sldId id="305" r:id="rId31"/>
    <p:sldId id="318" r:id="rId32"/>
    <p:sldId id="327" r:id="rId33"/>
    <p:sldId id="323" r:id="rId34"/>
    <p:sldId id="316" r:id="rId35"/>
    <p:sldId id="332" r:id="rId36"/>
  </p:sldIdLst>
  <p:sldSz cx="9144000" cy="6858000" type="screen4x3"/>
  <p:notesSz cx="6858000" cy="9144000"/>
  <p:custDataLst>
    <p:tags r:id="rId39"/>
  </p:custDataLst>
  <p:defaultTextStyle>
    <a:defPPr lvl="0">
      <a:defRPr lang="de-DE"/>
    </a:defPPr>
    <a:lvl1pPr marL="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624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50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hyperlink" Target="mailto:rpa.ai.usecase@gmail.com" TargetMode="External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hyperlink" Target="mailto:rpa.ai.usecase@gmail.com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5_2">
  <dgm:title val=""/>
  <dgm:desc val=""/>
  <dgm:catLst>
    <dgm:cat type="accent5" pri="15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52719E-6F15-4364-91E5-8EAFB9BFB871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accent5_2" csCatId="accent5" phldr="1"/>
      <dgm:spPr/>
      <dgm:t>
        <a:bodyPr/>
        <a:lstStyle/>
        <a:p>
          <a:endParaRPr lang="en-US"/>
        </a:p>
      </dgm:t>
    </dgm:pt>
    <dgm:pt modelId="{B8D6B8EC-00B2-4BDB-A92E-D88F9444215F}">
      <dgm:prSet/>
      <dgm:spPr/>
      <dgm:t>
        <a:bodyPr/>
        <a:lstStyle/>
        <a:p>
          <a:r>
            <a:rPr lang="en-US"/>
            <a:t>Workshop case introduction </a:t>
          </a:r>
        </a:p>
      </dgm:t>
    </dgm:pt>
    <dgm:pt modelId="{DD3AE83B-5C56-4F5F-A623-81F9C7BD4B4A}" type="parTrans" cxnId="{3C0B263C-DD1B-4270-8816-C45B4565724E}">
      <dgm:prSet/>
      <dgm:spPr/>
      <dgm:t>
        <a:bodyPr/>
        <a:lstStyle/>
        <a:p>
          <a:endParaRPr lang="en-US"/>
        </a:p>
      </dgm:t>
    </dgm:pt>
    <dgm:pt modelId="{8A29ADFB-479C-457E-A05C-99CEAF69D44A}" type="sibTrans" cxnId="{3C0B263C-DD1B-4270-8816-C45B4565724E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B904B1C2-21B9-4BEC-9B35-A1F511A68BD2}">
      <dgm:prSet/>
      <dgm:spPr/>
      <dgm:t>
        <a:bodyPr/>
        <a:lstStyle/>
        <a:p>
          <a:r>
            <a:rPr lang="en-US" dirty="0"/>
            <a:t>Enterprise technology adoption maturity</a:t>
          </a:r>
        </a:p>
      </dgm:t>
    </dgm:pt>
    <dgm:pt modelId="{79797399-1427-4EE2-8CE2-CBB052E4B4F3}" type="parTrans" cxnId="{6F325316-8D5A-4267-8C7D-900376A222F2}">
      <dgm:prSet/>
      <dgm:spPr/>
      <dgm:t>
        <a:bodyPr/>
        <a:lstStyle/>
        <a:p>
          <a:endParaRPr lang="en-US"/>
        </a:p>
      </dgm:t>
    </dgm:pt>
    <dgm:pt modelId="{E0F8A056-B87A-4E06-ABBC-6A162793BE3F}" type="sibTrans" cxnId="{6F325316-8D5A-4267-8C7D-900376A222F2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8D48646-C26F-4A62-8FA7-C096EEFF1D05}">
      <dgm:prSet/>
      <dgm:spPr/>
      <dgm:t>
        <a:bodyPr/>
        <a:lstStyle/>
        <a:p>
          <a:r>
            <a:rPr lang="en-US"/>
            <a:t>Pillars of design in 4.0 era</a:t>
          </a:r>
        </a:p>
      </dgm:t>
    </dgm:pt>
    <dgm:pt modelId="{8DE17228-A45D-4FE2-8F55-B209D337BF7E}" type="parTrans" cxnId="{67005E3A-05DD-4C3A-B648-8BBBA11299A0}">
      <dgm:prSet/>
      <dgm:spPr/>
      <dgm:t>
        <a:bodyPr/>
        <a:lstStyle/>
        <a:p>
          <a:endParaRPr lang="en-US"/>
        </a:p>
      </dgm:t>
    </dgm:pt>
    <dgm:pt modelId="{73B68C6F-68A3-4092-90F4-CBAF77C9B72A}" type="sibTrans" cxnId="{67005E3A-05DD-4C3A-B648-8BBBA11299A0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C3AA0D9-9F20-4002-9F77-667414AC00A1}">
      <dgm:prSet/>
      <dgm:spPr/>
      <dgm:t>
        <a:bodyPr/>
        <a:lstStyle/>
        <a:p>
          <a:r>
            <a:rPr lang="en-US"/>
            <a:t>Interactive live demo</a:t>
          </a:r>
        </a:p>
      </dgm:t>
    </dgm:pt>
    <dgm:pt modelId="{AEC43FB4-BE1B-46F9-BDD9-C37C1645D1FD}" type="parTrans" cxnId="{8C28A6F4-F8EB-4358-AC83-7F8640281AE4}">
      <dgm:prSet/>
      <dgm:spPr/>
      <dgm:t>
        <a:bodyPr/>
        <a:lstStyle/>
        <a:p>
          <a:endParaRPr lang="en-US"/>
        </a:p>
      </dgm:t>
    </dgm:pt>
    <dgm:pt modelId="{648ADE68-7BE5-4136-BFD8-C5C499D0A10F}" type="sibTrans" cxnId="{8C28A6F4-F8EB-4358-AC83-7F8640281AE4}">
      <dgm:prSet/>
      <dgm:spPr/>
      <dgm:t>
        <a:bodyPr/>
        <a:lstStyle/>
        <a:p>
          <a:endParaRPr lang="en-US"/>
        </a:p>
      </dgm:t>
    </dgm:pt>
    <dgm:pt modelId="{921B73D0-0FB5-43D5-A0B7-6725CA8FE322}">
      <dgm:prSet/>
      <dgm:spPr/>
      <dgm:t>
        <a:bodyPr/>
        <a:lstStyle/>
        <a:p>
          <a:r>
            <a:rPr lang="en-US" dirty="0"/>
            <a:t>Background on RPA &amp; ML</a:t>
          </a:r>
        </a:p>
      </dgm:t>
    </dgm:pt>
    <dgm:pt modelId="{E6247049-B90B-4B34-8C20-E1C507C262FC}" type="parTrans" cxnId="{393B35EB-3696-48C9-A81B-FBB39E3C7B50}">
      <dgm:prSet/>
      <dgm:spPr/>
      <dgm:t>
        <a:bodyPr/>
        <a:lstStyle/>
        <a:p>
          <a:endParaRPr lang="de-DE"/>
        </a:p>
      </dgm:t>
    </dgm:pt>
    <dgm:pt modelId="{BCDA1C27-D04D-4861-9ECB-8962E8DC9E69}" type="sibTrans" cxnId="{393B35EB-3696-48C9-A81B-FBB39E3C7B50}">
      <dgm:prSet/>
      <dgm:spPr/>
      <dgm:t>
        <a:bodyPr/>
        <a:lstStyle/>
        <a:p>
          <a:pPr>
            <a:lnSpc>
              <a:spcPct val="100000"/>
            </a:lnSpc>
          </a:pPr>
          <a:endParaRPr lang="de-DE"/>
        </a:p>
      </dgm:t>
    </dgm:pt>
    <dgm:pt modelId="{E16117BA-BC2F-4225-AF22-D727943CBF65}" type="pres">
      <dgm:prSet presAssocID="{8952719E-6F15-4364-91E5-8EAFB9BFB871}" presName="root" presStyleCnt="0">
        <dgm:presLayoutVars>
          <dgm:dir/>
          <dgm:resizeHandles val="exact"/>
        </dgm:presLayoutVars>
      </dgm:prSet>
      <dgm:spPr/>
    </dgm:pt>
    <dgm:pt modelId="{968C3E10-877C-4A4D-AA18-16C86A152375}" type="pres">
      <dgm:prSet presAssocID="{921B73D0-0FB5-43D5-A0B7-6725CA8FE322}" presName="compNode" presStyleCnt="0"/>
      <dgm:spPr/>
    </dgm:pt>
    <dgm:pt modelId="{7AA71E7F-23B4-4C6B-90D3-8A009D709BFB}" type="pres">
      <dgm:prSet presAssocID="{921B73D0-0FB5-43D5-A0B7-6725CA8FE322}" presName="bgRect" presStyleLbl="bgShp" presStyleIdx="0" presStyleCnt="5"/>
      <dgm:spPr/>
    </dgm:pt>
    <dgm:pt modelId="{7EC293DF-6CFA-4EED-91B4-2FE5CB8DE64D}" type="pres">
      <dgm:prSet presAssocID="{921B73D0-0FB5-43D5-A0B7-6725CA8FE322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assroom"/>
        </a:ext>
      </dgm:extLst>
    </dgm:pt>
    <dgm:pt modelId="{379C8ACD-A5A7-40C4-9E41-70C53A35EBE6}" type="pres">
      <dgm:prSet presAssocID="{921B73D0-0FB5-43D5-A0B7-6725CA8FE322}" presName="spaceRect" presStyleCnt="0"/>
      <dgm:spPr/>
    </dgm:pt>
    <dgm:pt modelId="{283103E2-C0B8-4B41-AD44-57ED4F027152}" type="pres">
      <dgm:prSet presAssocID="{921B73D0-0FB5-43D5-A0B7-6725CA8FE322}" presName="parTx" presStyleLbl="revTx" presStyleIdx="0" presStyleCnt="5">
        <dgm:presLayoutVars>
          <dgm:chMax val="0"/>
          <dgm:chPref val="0"/>
        </dgm:presLayoutVars>
      </dgm:prSet>
      <dgm:spPr/>
    </dgm:pt>
    <dgm:pt modelId="{940A2BE6-089F-40EA-B605-79F215E4A41D}" type="pres">
      <dgm:prSet presAssocID="{BCDA1C27-D04D-4861-9ECB-8962E8DC9E69}" presName="sibTrans" presStyleCnt="0"/>
      <dgm:spPr/>
    </dgm:pt>
    <dgm:pt modelId="{080A5438-66DE-4F2A-A795-2AE0F76A43B2}" type="pres">
      <dgm:prSet presAssocID="{B8D6B8EC-00B2-4BDB-A92E-D88F9444215F}" presName="compNode" presStyleCnt="0"/>
      <dgm:spPr/>
    </dgm:pt>
    <dgm:pt modelId="{EE812406-B75F-4EEC-9831-7B63B73BDBF8}" type="pres">
      <dgm:prSet presAssocID="{B8D6B8EC-00B2-4BDB-A92E-D88F9444215F}" presName="bgRect" presStyleLbl="bgShp" presStyleIdx="1" presStyleCnt="5"/>
      <dgm:spPr/>
    </dgm:pt>
    <dgm:pt modelId="{4834CB42-CED8-407F-B1BA-09563B9C4A68}" type="pres">
      <dgm:prSet presAssocID="{B8D6B8EC-00B2-4BDB-A92E-D88F9444215F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eacher"/>
        </a:ext>
      </dgm:extLst>
    </dgm:pt>
    <dgm:pt modelId="{8FF8A56E-9B43-4046-B985-91035228B6E2}" type="pres">
      <dgm:prSet presAssocID="{B8D6B8EC-00B2-4BDB-A92E-D88F9444215F}" presName="spaceRect" presStyleCnt="0"/>
      <dgm:spPr/>
    </dgm:pt>
    <dgm:pt modelId="{D55D0FAD-BACE-47DE-9F0C-8ABFD07B2C68}" type="pres">
      <dgm:prSet presAssocID="{B8D6B8EC-00B2-4BDB-A92E-D88F9444215F}" presName="parTx" presStyleLbl="revTx" presStyleIdx="1" presStyleCnt="5">
        <dgm:presLayoutVars>
          <dgm:chMax val="0"/>
          <dgm:chPref val="0"/>
        </dgm:presLayoutVars>
      </dgm:prSet>
      <dgm:spPr/>
    </dgm:pt>
    <dgm:pt modelId="{B94E5B2B-4A10-4351-A9D1-5A9808370708}" type="pres">
      <dgm:prSet presAssocID="{8A29ADFB-479C-457E-A05C-99CEAF69D44A}" presName="sibTrans" presStyleCnt="0"/>
      <dgm:spPr/>
    </dgm:pt>
    <dgm:pt modelId="{13717A68-F453-4F33-8F25-FA66535035AE}" type="pres">
      <dgm:prSet presAssocID="{B904B1C2-21B9-4BEC-9B35-A1F511A68BD2}" presName="compNode" presStyleCnt="0"/>
      <dgm:spPr/>
    </dgm:pt>
    <dgm:pt modelId="{A82B846F-C98A-4E9A-86C3-A9694B991B0C}" type="pres">
      <dgm:prSet presAssocID="{B904B1C2-21B9-4BEC-9B35-A1F511A68BD2}" presName="bgRect" presStyleLbl="bgShp" presStyleIdx="2" presStyleCnt="5"/>
      <dgm:spPr/>
    </dgm:pt>
    <dgm:pt modelId="{64EA32B1-BA2E-48CA-8064-F94E3959C5C2}" type="pres">
      <dgm:prSet presAssocID="{B904B1C2-21B9-4BEC-9B35-A1F511A68BD2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obot"/>
        </a:ext>
      </dgm:extLst>
    </dgm:pt>
    <dgm:pt modelId="{8257C1B8-6E05-49DF-896D-978A1B35BEE4}" type="pres">
      <dgm:prSet presAssocID="{B904B1C2-21B9-4BEC-9B35-A1F511A68BD2}" presName="spaceRect" presStyleCnt="0"/>
      <dgm:spPr/>
    </dgm:pt>
    <dgm:pt modelId="{651EE13A-BA77-4FC0-9C18-8EFDBC0C0BFD}" type="pres">
      <dgm:prSet presAssocID="{B904B1C2-21B9-4BEC-9B35-A1F511A68BD2}" presName="parTx" presStyleLbl="revTx" presStyleIdx="2" presStyleCnt="5">
        <dgm:presLayoutVars>
          <dgm:chMax val="0"/>
          <dgm:chPref val="0"/>
        </dgm:presLayoutVars>
      </dgm:prSet>
      <dgm:spPr/>
    </dgm:pt>
    <dgm:pt modelId="{1E5CC0C5-C991-4D88-A968-12D8E9B29365}" type="pres">
      <dgm:prSet presAssocID="{E0F8A056-B87A-4E06-ABBC-6A162793BE3F}" presName="sibTrans" presStyleCnt="0"/>
      <dgm:spPr/>
    </dgm:pt>
    <dgm:pt modelId="{5C42C53A-4188-46B5-8275-9FA2C3DAF3D3}" type="pres">
      <dgm:prSet presAssocID="{A8D48646-C26F-4A62-8FA7-C096EEFF1D05}" presName="compNode" presStyleCnt="0"/>
      <dgm:spPr/>
    </dgm:pt>
    <dgm:pt modelId="{C4A1624D-8D5F-4789-B9F0-4A61D0B11110}" type="pres">
      <dgm:prSet presAssocID="{A8D48646-C26F-4A62-8FA7-C096EEFF1D05}" presName="bgRect" presStyleLbl="bgShp" presStyleIdx="3" presStyleCnt="5"/>
      <dgm:spPr/>
    </dgm:pt>
    <dgm:pt modelId="{B8C69E60-AAEC-407A-A2BE-89BE7EB966BE}" type="pres">
      <dgm:prSet presAssocID="{A8D48646-C26F-4A62-8FA7-C096EEFF1D05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953CBDFE-3D96-4289-AAD6-D85FADE56BBF}" type="pres">
      <dgm:prSet presAssocID="{A8D48646-C26F-4A62-8FA7-C096EEFF1D05}" presName="spaceRect" presStyleCnt="0"/>
      <dgm:spPr/>
    </dgm:pt>
    <dgm:pt modelId="{7C3C6D34-DF32-4DDC-823A-E267E0F0CB5B}" type="pres">
      <dgm:prSet presAssocID="{A8D48646-C26F-4A62-8FA7-C096EEFF1D05}" presName="parTx" presStyleLbl="revTx" presStyleIdx="3" presStyleCnt="5">
        <dgm:presLayoutVars>
          <dgm:chMax val="0"/>
          <dgm:chPref val="0"/>
        </dgm:presLayoutVars>
      </dgm:prSet>
      <dgm:spPr/>
    </dgm:pt>
    <dgm:pt modelId="{D4EEE43B-66B3-4BD6-9422-F1C4E08B5DE0}" type="pres">
      <dgm:prSet presAssocID="{73B68C6F-68A3-4092-90F4-CBAF77C9B72A}" presName="sibTrans" presStyleCnt="0"/>
      <dgm:spPr/>
    </dgm:pt>
    <dgm:pt modelId="{E63CC76C-9F35-4503-BC44-75399F7EDA54}" type="pres">
      <dgm:prSet presAssocID="{AC3AA0D9-9F20-4002-9F77-667414AC00A1}" presName="compNode" presStyleCnt="0"/>
      <dgm:spPr/>
    </dgm:pt>
    <dgm:pt modelId="{00C1DB7C-9BDD-4B40-BBC6-30F652183EA4}" type="pres">
      <dgm:prSet presAssocID="{AC3AA0D9-9F20-4002-9F77-667414AC00A1}" presName="bgRect" presStyleLbl="bgShp" presStyleIdx="4" presStyleCnt="5"/>
      <dgm:spPr/>
    </dgm:pt>
    <dgm:pt modelId="{22A42EAB-6FE9-4336-AC12-8EA95257118D}" type="pres">
      <dgm:prSet presAssocID="{AC3AA0D9-9F20-4002-9F77-667414AC00A1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esentation with media"/>
        </a:ext>
      </dgm:extLst>
    </dgm:pt>
    <dgm:pt modelId="{8A79216C-F440-46BF-8ACE-0152BD90D6BF}" type="pres">
      <dgm:prSet presAssocID="{AC3AA0D9-9F20-4002-9F77-667414AC00A1}" presName="spaceRect" presStyleCnt="0"/>
      <dgm:spPr/>
    </dgm:pt>
    <dgm:pt modelId="{C810D9FC-25C4-4CFA-B9EB-3B78A92A23C3}" type="pres">
      <dgm:prSet presAssocID="{AC3AA0D9-9F20-4002-9F77-667414AC00A1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C140790F-8580-4452-B45C-217614AD9E02}" type="presOf" srcId="{921B73D0-0FB5-43D5-A0B7-6725CA8FE322}" destId="{283103E2-C0B8-4B41-AD44-57ED4F027152}" srcOrd="0" destOrd="0" presId="urn:microsoft.com/office/officeart/2018/2/layout/IconVerticalSolidList"/>
    <dgm:cxn modelId="{6F325316-8D5A-4267-8C7D-900376A222F2}" srcId="{8952719E-6F15-4364-91E5-8EAFB9BFB871}" destId="{B904B1C2-21B9-4BEC-9B35-A1F511A68BD2}" srcOrd="2" destOrd="0" parTransId="{79797399-1427-4EE2-8CE2-CBB052E4B4F3}" sibTransId="{E0F8A056-B87A-4E06-ABBC-6A162793BE3F}"/>
    <dgm:cxn modelId="{67005E3A-05DD-4C3A-B648-8BBBA11299A0}" srcId="{8952719E-6F15-4364-91E5-8EAFB9BFB871}" destId="{A8D48646-C26F-4A62-8FA7-C096EEFF1D05}" srcOrd="3" destOrd="0" parTransId="{8DE17228-A45D-4FE2-8F55-B209D337BF7E}" sibTransId="{73B68C6F-68A3-4092-90F4-CBAF77C9B72A}"/>
    <dgm:cxn modelId="{3C0B263C-DD1B-4270-8816-C45B4565724E}" srcId="{8952719E-6F15-4364-91E5-8EAFB9BFB871}" destId="{B8D6B8EC-00B2-4BDB-A92E-D88F9444215F}" srcOrd="1" destOrd="0" parTransId="{DD3AE83B-5C56-4F5F-A623-81F9C7BD4B4A}" sibTransId="{8A29ADFB-479C-457E-A05C-99CEAF69D44A}"/>
    <dgm:cxn modelId="{AFEF7E63-49E6-4A14-9A47-DB5F8E44BC7F}" type="presOf" srcId="{A8D48646-C26F-4A62-8FA7-C096EEFF1D05}" destId="{7C3C6D34-DF32-4DDC-823A-E267E0F0CB5B}" srcOrd="0" destOrd="0" presId="urn:microsoft.com/office/officeart/2018/2/layout/IconVerticalSolidList"/>
    <dgm:cxn modelId="{C267544F-0F8F-41DD-8F0C-6851CAF1808B}" type="presOf" srcId="{B904B1C2-21B9-4BEC-9B35-A1F511A68BD2}" destId="{651EE13A-BA77-4FC0-9C18-8EFDBC0C0BFD}" srcOrd="0" destOrd="0" presId="urn:microsoft.com/office/officeart/2018/2/layout/IconVerticalSolidList"/>
    <dgm:cxn modelId="{47B65252-A311-4A8A-BFE7-226E497F1C96}" type="presOf" srcId="{B8D6B8EC-00B2-4BDB-A92E-D88F9444215F}" destId="{D55D0FAD-BACE-47DE-9F0C-8ABFD07B2C68}" srcOrd="0" destOrd="0" presId="urn:microsoft.com/office/officeart/2018/2/layout/IconVerticalSolidList"/>
    <dgm:cxn modelId="{13AD37AE-14A4-4938-8F2E-6D04933B63D6}" type="presOf" srcId="{AC3AA0D9-9F20-4002-9F77-667414AC00A1}" destId="{C810D9FC-25C4-4CFA-B9EB-3B78A92A23C3}" srcOrd="0" destOrd="0" presId="urn:microsoft.com/office/officeart/2018/2/layout/IconVerticalSolidList"/>
    <dgm:cxn modelId="{393B35EB-3696-48C9-A81B-FBB39E3C7B50}" srcId="{8952719E-6F15-4364-91E5-8EAFB9BFB871}" destId="{921B73D0-0FB5-43D5-A0B7-6725CA8FE322}" srcOrd="0" destOrd="0" parTransId="{E6247049-B90B-4B34-8C20-E1C507C262FC}" sibTransId="{BCDA1C27-D04D-4861-9ECB-8962E8DC9E69}"/>
    <dgm:cxn modelId="{6EDB70F0-DF85-45F5-B4B3-C49C8A328E68}" type="presOf" srcId="{8952719E-6F15-4364-91E5-8EAFB9BFB871}" destId="{E16117BA-BC2F-4225-AF22-D727943CBF65}" srcOrd="0" destOrd="0" presId="urn:microsoft.com/office/officeart/2018/2/layout/IconVerticalSolidList"/>
    <dgm:cxn modelId="{8C28A6F4-F8EB-4358-AC83-7F8640281AE4}" srcId="{8952719E-6F15-4364-91E5-8EAFB9BFB871}" destId="{AC3AA0D9-9F20-4002-9F77-667414AC00A1}" srcOrd="4" destOrd="0" parTransId="{AEC43FB4-BE1B-46F9-BDD9-C37C1645D1FD}" sibTransId="{648ADE68-7BE5-4136-BFD8-C5C499D0A10F}"/>
    <dgm:cxn modelId="{4319C9CE-DA22-4C88-829F-14476F75F1E0}" type="presParOf" srcId="{E16117BA-BC2F-4225-AF22-D727943CBF65}" destId="{968C3E10-877C-4A4D-AA18-16C86A152375}" srcOrd="0" destOrd="0" presId="urn:microsoft.com/office/officeart/2018/2/layout/IconVerticalSolidList"/>
    <dgm:cxn modelId="{7EF25093-CE8B-4D21-8D64-1F829FDD17B8}" type="presParOf" srcId="{968C3E10-877C-4A4D-AA18-16C86A152375}" destId="{7AA71E7F-23B4-4C6B-90D3-8A009D709BFB}" srcOrd="0" destOrd="0" presId="urn:microsoft.com/office/officeart/2018/2/layout/IconVerticalSolidList"/>
    <dgm:cxn modelId="{BAC5C54A-3F7C-4DEA-B62E-E13E6CA2EFC3}" type="presParOf" srcId="{968C3E10-877C-4A4D-AA18-16C86A152375}" destId="{7EC293DF-6CFA-4EED-91B4-2FE5CB8DE64D}" srcOrd="1" destOrd="0" presId="urn:microsoft.com/office/officeart/2018/2/layout/IconVerticalSolidList"/>
    <dgm:cxn modelId="{5628365D-6EA3-474F-B2D3-EAB1224E4122}" type="presParOf" srcId="{968C3E10-877C-4A4D-AA18-16C86A152375}" destId="{379C8ACD-A5A7-40C4-9E41-70C53A35EBE6}" srcOrd="2" destOrd="0" presId="urn:microsoft.com/office/officeart/2018/2/layout/IconVerticalSolidList"/>
    <dgm:cxn modelId="{CF006BBF-878E-461E-BBE2-E6F759A02AAB}" type="presParOf" srcId="{968C3E10-877C-4A4D-AA18-16C86A152375}" destId="{283103E2-C0B8-4B41-AD44-57ED4F027152}" srcOrd="3" destOrd="0" presId="urn:microsoft.com/office/officeart/2018/2/layout/IconVerticalSolidList"/>
    <dgm:cxn modelId="{7390E79E-6090-4170-9AFF-589077FE131A}" type="presParOf" srcId="{E16117BA-BC2F-4225-AF22-D727943CBF65}" destId="{940A2BE6-089F-40EA-B605-79F215E4A41D}" srcOrd="1" destOrd="0" presId="urn:microsoft.com/office/officeart/2018/2/layout/IconVerticalSolidList"/>
    <dgm:cxn modelId="{EE49C5AF-DC52-494F-AFF6-63161B413B3A}" type="presParOf" srcId="{E16117BA-BC2F-4225-AF22-D727943CBF65}" destId="{080A5438-66DE-4F2A-A795-2AE0F76A43B2}" srcOrd="2" destOrd="0" presId="urn:microsoft.com/office/officeart/2018/2/layout/IconVerticalSolidList"/>
    <dgm:cxn modelId="{0DB68FC7-7313-4679-B776-FD712950825A}" type="presParOf" srcId="{080A5438-66DE-4F2A-A795-2AE0F76A43B2}" destId="{EE812406-B75F-4EEC-9831-7B63B73BDBF8}" srcOrd="0" destOrd="0" presId="urn:microsoft.com/office/officeart/2018/2/layout/IconVerticalSolidList"/>
    <dgm:cxn modelId="{9181F32C-A690-4FFD-9EB2-8C335190F2D0}" type="presParOf" srcId="{080A5438-66DE-4F2A-A795-2AE0F76A43B2}" destId="{4834CB42-CED8-407F-B1BA-09563B9C4A68}" srcOrd="1" destOrd="0" presId="urn:microsoft.com/office/officeart/2018/2/layout/IconVerticalSolidList"/>
    <dgm:cxn modelId="{444DBB41-C2CA-4E6F-8D3B-2B29B3C1B85B}" type="presParOf" srcId="{080A5438-66DE-4F2A-A795-2AE0F76A43B2}" destId="{8FF8A56E-9B43-4046-B985-91035228B6E2}" srcOrd="2" destOrd="0" presId="urn:microsoft.com/office/officeart/2018/2/layout/IconVerticalSolidList"/>
    <dgm:cxn modelId="{8EB83810-B87F-4B59-BB24-6CF68D5D1499}" type="presParOf" srcId="{080A5438-66DE-4F2A-A795-2AE0F76A43B2}" destId="{D55D0FAD-BACE-47DE-9F0C-8ABFD07B2C68}" srcOrd="3" destOrd="0" presId="urn:microsoft.com/office/officeart/2018/2/layout/IconVerticalSolidList"/>
    <dgm:cxn modelId="{59AAB921-D1D3-4B08-80DC-81A3D5BC9AE6}" type="presParOf" srcId="{E16117BA-BC2F-4225-AF22-D727943CBF65}" destId="{B94E5B2B-4A10-4351-A9D1-5A9808370708}" srcOrd="3" destOrd="0" presId="urn:microsoft.com/office/officeart/2018/2/layout/IconVerticalSolidList"/>
    <dgm:cxn modelId="{B9C9C8E0-81D4-4D0A-AC13-FCCBCE474E3C}" type="presParOf" srcId="{E16117BA-BC2F-4225-AF22-D727943CBF65}" destId="{13717A68-F453-4F33-8F25-FA66535035AE}" srcOrd="4" destOrd="0" presId="urn:microsoft.com/office/officeart/2018/2/layout/IconVerticalSolidList"/>
    <dgm:cxn modelId="{B1884EEA-7773-47D1-9840-E559D02AD176}" type="presParOf" srcId="{13717A68-F453-4F33-8F25-FA66535035AE}" destId="{A82B846F-C98A-4E9A-86C3-A9694B991B0C}" srcOrd="0" destOrd="0" presId="urn:microsoft.com/office/officeart/2018/2/layout/IconVerticalSolidList"/>
    <dgm:cxn modelId="{D6820329-170E-41E3-9C75-6F100674C512}" type="presParOf" srcId="{13717A68-F453-4F33-8F25-FA66535035AE}" destId="{64EA32B1-BA2E-48CA-8064-F94E3959C5C2}" srcOrd="1" destOrd="0" presId="urn:microsoft.com/office/officeart/2018/2/layout/IconVerticalSolidList"/>
    <dgm:cxn modelId="{D5636C7C-DDE8-4C53-83C1-714F316E581E}" type="presParOf" srcId="{13717A68-F453-4F33-8F25-FA66535035AE}" destId="{8257C1B8-6E05-49DF-896D-978A1B35BEE4}" srcOrd="2" destOrd="0" presId="urn:microsoft.com/office/officeart/2018/2/layout/IconVerticalSolidList"/>
    <dgm:cxn modelId="{ED92C6FD-399D-451C-8E76-47C021BC0436}" type="presParOf" srcId="{13717A68-F453-4F33-8F25-FA66535035AE}" destId="{651EE13A-BA77-4FC0-9C18-8EFDBC0C0BFD}" srcOrd="3" destOrd="0" presId="urn:microsoft.com/office/officeart/2018/2/layout/IconVerticalSolidList"/>
    <dgm:cxn modelId="{D51A178F-0FF4-4534-9D69-2F15F1198C7F}" type="presParOf" srcId="{E16117BA-BC2F-4225-AF22-D727943CBF65}" destId="{1E5CC0C5-C991-4D88-A968-12D8E9B29365}" srcOrd="5" destOrd="0" presId="urn:microsoft.com/office/officeart/2018/2/layout/IconVerticalSolidList"/>
    <dgm:cxn modelId="{97DDD069-95DA-4BBB-9EC8-D2CAE43517DD}" type="presParOf" srcId="{E16117BA-BC2F-4225-AF22-D727943CBF65}" destId="{5C42C53A-4188-46B5-8275-9FA2C3DAF3D3}" srcOrd="6" destOrd="0" presId="urn:microsoft.com/office/officeart/2018/2/layout/IconVerticalSolidList"/>
    <dgm:cxn modelId="{708C5AC9-A69E-495D-BD27-1A8FBE410EF4}" type="presParOf" srcId="{5C42C53A-4188-46B5-8275-9FA2C3DAF3D3}" destId="{C4A1624D-8D5F-4789-B9F0-4A61D0B11110}" srcOrd="0" destOrd="0" presId="urn:microsoft.com/office/officeart/2018/2/layout/IconVerticalSolidList"/>
    <dgm:cxn modelId="{02F47DE7-2F8C-4F39-A480-DC7B9BB7B43B}" type="presParOf" srcId="{5C42C53A-4188-46B5-8275-9FA2C3DAF3D3}" destId="{B8C69E60-AAEC-407A-A2BE-89BE7EB966BE}" srcOrd="1" destOrd="0" presId="urn:microsoft.com/office/officeart/2018/2/layout/IconVerticalSolidList"/>
    <dgm:cxn modelId="{2BBFE664-E408-4B15-BAC8-0352B2F0B017}" type="presParOf" srcId="{5C42C53A-4188-46B5-8275-9FA2C3DAF3D3}" destId="{953CBDFE-3D96-4289-AAD6-D85FADE56BBF}" srcOrd="2" destOrd="0" presId="urn:microsoft.com/office/officeart/2018/2/layout/IconVerticalSolidList"/>
    <dgm:cxn modelId="{C318A27F-D219-4702-9716-C43B8E2342C2}" type="presParOf" srcId="{5C42C53A-4188-46B5-8275-9FA2C3DAF3D3}" destId="{7C3C6D34-DF32-4DDC-823A-E267E0F0CB5B}" srcOrd="3" destOrd="0" presId="urn:microsoft.com/office/officeart/2018/2/layout/IconVerticalSolidList"/>
    <dgm:cxn modelId="{6D785C3C-3C43-4761-AF8F-5D5C2BC8B285}" type="presParOf" srcId="{E16117BA-BC2F-4225-AF22-D727943CBF65}" destId="{D4EEE43B-66B3-4BD6-9422-F1C4E08B5DE0}" srcOrd="7" destOrd="0" presId="urn:microsoft.com/office/officeart/2018/2/layout/IconVerticalSolidList"/>
    <dgm:cxn modelId="{02E17A73-75B3-481C-803A-FDC3AE6DD67C}" type="presParOf" srcId="{E16117BA-BC2F-4225-AF22-D727943CBF65}" destId="{E63CC76C-9F35-4503-BC44-75399F7EDA54}" srcOrd="8" destOrd="0" presId="urn:microsoft.com/office/officeart/2018/2/layout/IconVerticalSolidList"/>
    <dgm:cxn modelId="{55F9E6C4-066F-4AD5-B27C-97F12E2FAE9A}" type="presParOf" srcId="{E63CC76C-9F35-4503-BC44-75399F7EDA54}" destId="{00C1DB7C-9BDD-4B40-BBC6-30F652183EA4}" srcOrd="0" destOrd="0" presId="urn:microsoft.com/office/officeart/2018/2/layout/IconVerticalSolidList"/>
    <dgm:cxn modelId="{8214C28E-B6B2-4AC6-B59B-D3AC9B4441E0}" type="presParOf" srcId="{E63CC76C-9F35-4503-BC44-75399F7EDA54}" destId="{22A42EAB-6FE9-4336-AC12-8EA95257118D}" srcOrd="1" destOrd="0" presId="urn:microsoft.com/office/officeart/2018/2/layout/IconVerticalSolidList"/>
    <dgm:cxn modelId="{EC7EBB52-F085-4DA0-AB33-95E465D8230C}" type="presParOf" srcId="{E63CC76C-9F35-4503-BC44-75399F7EDA54}" destId="{8A79216C-F440-46BF-8ACE-0152BD90D6BF}" srcOrd="2" destOrd="0" presId="urn:microsoft.com/office/officeart/2018/2/layout/IconVerticalSolidList"/>
    <dgm:cxn modelId="{E14537CF-1B59-4EF5-820A-A0BAAB3B6374}" type="presParOf" srcId="{E63CC76C-9F35-4503-BC44-75399F7EDA54}" destId="{C810D9FC-25C4-4CFA-B9EB-3B78A92A23C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812A38-DDAB-4318-8B74-B4363FCB2D1F}" type="doc">
      <dgm:prSet loTypeId="urn:microsoft.com/office/officeart/2008/layout/Lin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9B72FB86-F990-4E42-BFF1-A547EA39BEA5}">
      <dgm:prSet custT="1"/>
      <dgm:spPr/>
      <dgm:t>
        <a:bodyPr/>
        <a:lstStyle/>
        <a:p>
          <a:r>
            <a:rPr lang="en-US" sz="3200" dirty="0"/>
            <a:t>Large drug stores chain</a:t>
          </a:r>
        </a:p>
      </dgm:t>
    </dgm:pt>
    <dgm:pt modelId="{8503A85E-4928-4CF5-97F9-BFCC98A58BD3}" type="parTrans" cxnId="{04F06CBF-F8CA-4B08-83E2-1972BAC4ACED}">
      <dgm:prSet/>
      <dgm:spPr/>
      <dgm:t>
        <a:bodyPr/>
        <a:lstStyle/>
        <a:p>
          <a:endParaRPr lang="en-US" sz="1600"/>
        </a:p>
      </dgm:t>
    </dgm:pt>
    <dgm:pt modelId="{98264E83-88B2-49AA-9AEE-5095740B18FC}" type="sibTrans" cxnId="{04F06CBF-F8CA-4B08-83E2-1972BAC4ACED}">
      <dgm:prSet/>
      <dgm:spPr/>
      <dgm:t>
        <a:bodyPr/>
        <a:lstStyle/>
        <a:p>
          <a:endParaRPr lang="en-US" sz="1600"/>
        </a:p>
      </dgm:t>
    </dgm:pt>
    <dgm:pt modelId="{ACE072C0-BDDC-4856-A1E0-4F25792D9A18}">
      <dgm:prSet custT="1"/>
      <dgm:spPr/>
      <dgm:t>
        <a:bodyPr/>
        <a:lstStyle/>
        <a:p>
          <a:r>
            <a:rPr lang="en-US" sz="3200" b="0" dirty="0"/>
            <a:t>Forecasting sales reports on a frequent basis</a:t>
          </a:r>
        </a:p>
      </dgm:t>
    </dgm:pt>
    <dgm:pt modelId="{2BA0074B-F4A1-47B6-946D-9F807669F691}" type="parTrans" cxnId="{904C0408-9132-4A71-BC4E-C6C3C77B80BE}">
      <dgm:prSet/>
      <dgm:spPr/>
      <dgm:t>
        <a:bodyPr/>
        <a:lstStyle/>
        <a:p>
          <a:endParaRPr lang="en-US" sz="1600"/>
        </a:p>
      </dgm:t>
    </dgm:pt>
    <dgm:pt modelId="{7777670F-DFCA-42CF-ACBD-084D58F3D1EF}" type="sibTrans" cxnId="{904C0408-9132-4A71-BC4E-C6C3C77B80BE}">
      <dgm:prSet/>
      <dgm:spPr/>
      <dgm:t>
        <a:bodyPr/>
        <a:lstStyle/>
        <a:p>
          <a:endParaRPr lang="en-US" sz="1600"/>
        </a:p>
      </dgm:t>
    </dgm:pt>
    <dgm:pt modelId="{6F780BEA-F4D7-4065-AD8D-3B7B621452FF}">
      <dgm:prSet custT="1"/>
      <dgm:spPr/>
      <dgm:t>
        <a:bodyPr/>
        <a:lstStyle/>
        <a:p>
          <a:r>
            <a:rPr lang="en-US" sz="3200" dirty="0"/>
            <a:t>RPA teams with strong IT infrastructure</a:t>
          </a:r>
        </a:p>
      </dgm:t>
    </dgm:pt>
    <dgm:pt modelId="{FF66CA13-2EF5-433A-91B2-FE823CD3CA57}" type="parTrans" cxnId="{C624CB78-C230-4E04-9F9C-3BC76C5356C2}">
      <dgm:prSet/>
      <dgm:spPr/>
      <dgm:t>
        <a:bodyPr/>
        <a:lstStyle/>
        <a:p>
          <a:endParaRPr lang="en-US" sz="1600"/>
        </a:p>
      </dgm:t>
    </dgm:pt>
    <dgm:pt modelId="{0D20FFA3-3F58-4356-B7FA-65105B254D29}" type="sibTrans" cxnId="{C624CB78-C230-4E04-9F9C-3BC76C5356C2}">
      <dgm:prSet/>
      <dgm:spPr/>
      <dgm:t>
        <a:bodyPr/>
        <a:lstStyle/>
        <a:p>
          <a:endParaRPr lang="en-US" sz="1600"/>
        </a:p>
      </dgm:t>
    </dgm:pt>
    <dgm:pt modelId="{22698DF0-0407-48F9-BAC6-EFA3C1813A45}">
      <dgm:prSet custT="1"/>
      <dgm:spPr/>
      <dgm:t>
        <a:bodyPr/>
        <a:lstStyle/>
        <a:p>
          <a:r>
            <a:rPr lang="en-US" sz="3200" dirty="0"/>
            <a:t>Data analysts/scientists available </a:t>
          </a:r>
        </a:p>
      </dgm:t>
    </dgm:pt>
    <dgm:pt modelId="{E1A00513-65AC-48BA-9141-15C168B1E9D7}" type="parTrans" cxnId="{5FC9581E-6B0E-4D90-8463-6C9F2E4E0035}">
      <dgm:prSet/>
      <dgm:spPr/>
      <dgm:t>
        <a:bodyPr/>
        <a:lstStyle/>
        <a:p>
          <a:endParaRPr lang="de-DE" sz="1600"/>
        </a:p>
      </dgm:t>
    </dgm:pt>
    <dgm:pt modelId="{4A2CF633-036F-4E6C-BE59-E68586A7D09E}" type="sibTrans" cxnId="{5FC9581E-6B0E-4D90-8463-6C9F2E4E0035}">
      <dgm:prSet/>
      <dgm:spPr/>
      <dgm:t>
        <a:bodyPr/>
        <a:lstStyle/>
        <a:p>
          <a:endParaRPr lang="de-DE" sz="1600"/>
        </a:p>
      </dgm:t>
    </dgm:pt>
    <dgm:pt modelId="{8FF676FE-B463-4652-B954-6FC7AF4F04E7}" type="pres">
      <dgm:prSet presAssocID="{3C812A38-DDAB-4318-8B74-B4363FCB2D1F}" presName="vert0" presStyleCnt="0">
        <dgm:presLayoutVars>
          <dgm:dir/>
          <dgm:animOne val="branch"/>
          <dgm:animLvl val="lvl"/>
        </dgm:presLayoutVars>
      </dgm:prSet>
      <dgm:spPr/>
    </dgm:pt>
    <dgm:pt modelId="{DE79256F-D27C-4CCA-9BC2-716F9A6C6A2F}" type="pres">
      <dgm:prSet presAssocID="{9B72FB86-F990-4E42-BFF1-A547EA39BEA5}" presName="thickLine" presStyleLbl="alignNode1" presStyleIdx="0" presStyleCnt="4"/>
      <dgm:spPr/>
    </dgm:pt>
    <dgm:pt modelId="{D7BDC98A-930D-4C4D-96EC-F540DBBDD1D4}" type="pres">
      <dgm:prSet presAssocID="{9B72FB86-F990-4E42-BFF1-A547EA39BEA5}" presName="horz1" presStyleCnt="0"/>
      <dgm:spPr/>
    </dgm:pt>
    <dgm:pt modelId="{A304796A-9A19-43DA-9F4F-78B92B01B0E4}" type="pres">
      <dgm:prSet presAssocID="{9B72FB86-F990-4E42-BFF1-A547EA39BEA5}" presName="tx1" presStyleLbl="revTx" presStyleIdx="0" presStyleCnt="4"/>
      <dgm:spPr/>
    </dgm:pt>
    <dgm:pt modelId="{DF793338-7361-473F-A875-4847E3BF7515}" type="pres">
      <dgm:prSet presAssocID="{9B72FB86-F990-4E42-BFF1-A547EA39BEA5}" presName="vert1" presStyleCnt="0"/>
      <dgm:spPr/>
    </dgm:pt>
    <dgm:pt modelId="{32FC847C-F783-46DE-87EB-0827A22FBD21}" type="pres">
      <dgm:prSet presAssocID="{ACE072C0-BDDC-4856-A1E0-4F25792D9A18}" presName="thickLine" presStyleLbl="alignNode1" presStyleIdx="1" presStyleCnt="4"/>
      <dgm:spPr/>
    </dgm:pt>
    <dgm:pt modelId="{B83CF577-8237-4C21-B4C5-186E62BE77D5}" type="pres">
      <dgm:prSet presAssocID="{ACE072C0-BDDC-4856-A1E0-4F25792D9A18}" presName="horz1" presStyleCnt="0"/>
      <dgm:spPr/>
    </dgm:pt>
    <dgm:pt modelId="{1BA0EC80-1466-440B-B963-7C85FAF6ECEE}" type="pres">
      <dgm:prSet presAssocID="{ACE072C0-BDDC-4856-A1E0-4F25792D9A18}" presName="tx1" presStyleLbl="revTx" presStyleIdx="1" presStyleCnt="4"/>
      <dgm:spPr/>
    </dgm:pt>
    <dgm:pt modelId="{1DE12D68-2AC1-472F-B3A8-029A604BBF09}" type="pres">
      <dgm:prSet presAssocID="{ACE072C0-BDDC-4856-A1E0-4F25792D9A18}" presName="vert1" presStyleCnt="0"/>
      <dgm:spPr/>
    </dgm:pt>
    <dgm:pt modelId="{41023018-13C9-4E23-BC44-64026C5F10F1}" type="pres">
      <dgm:prSet presAssocID="{6F780BEA-F4D7-4065-AD8D-3B7B621452FF}" presName="thickLine" presStyleLbl="alignNode1" presStyleIdx="2" presStyleCnt="4"/>
      <dgm:spPr/>
    </dgm:pt>
    <dgm:pt modelId="{CDB8291E-98DC-4B3A-884D-1857BBD28C40}" type="pres">
      <dgm:prSet presAssocID="{6F780BEA-F4D7-4065-AD8D-3B7B621452FF}" presName="horz1" presStyleCnt="0"/>
      <dgm:spPr/>
    </dgm:pt>
    <dgm:pt modelId="{2FD34308-73D0-4AC8-886D-20DD9CC684CF}" type="pres">
      <dgm:prSet presAssocID="{6F780BEA-F4D7-4065-AD8D-3B7B621452FF}" presName="tx1" presStyleLbl="revTx" presStyleIdx="2" presStyleCnt="4"/>
      <dgm:spPr/>
    </dgm:pt>
    <dgm:pt modelId="{0A030BFE-9BB2-4F63-9BA1-86F3213268C1}" type="pres">
      <dgm:prSet presAssocID="{6F780BEA-F4D7-4065-AD8D-3B7B621452FF}" presName="vert1" presStyleCnt="0"/>
      <dgm:spPr/>
    </dgm:pt>
    <dgm:pt modelId="{3FDDA778-CC88-497F-910E-C4D80353592D}" type="pres">
      <dgm:prSet presAssocID="{22698DF0-0407-48F9-BAC6-EFA3C1813A45}" presName="thickLine" presStyleLbl="alignNode1" presStyleIdx="3" presStyleCnt="4"/>
      <dgm:spPr/>
    </dgm:pt>
    <dgm:pt modelId="{F91414AD-0329-45E8-A4E8-33C82F7A37A7}" type="pres">
      <dgm:prSet presAssocID="{22698DF0-0407-48F9-BAC6-EFA3C1813A45}" presName="horz1" presStyleCnt="0"/>
      <dgm:spPr/>
    </dgm:pt>
    <dgm:pt modelId="{661BA541-CE1E-45A6-B0C1-E7355E4E99AF}" type="pres">
      <dgm:prSet presAssocID="{22698DF0-0407-48F9-BAC6-EFA3C1813A45}" presName="tx1" presStyleLbl="revTx" presStyleIdx="3" presStyleCnt="4"/>
      <dgm:spPr/>
    </dgm:pt>
    <dgm:pt modelId="{D7BB3644-726C-4DBA-BC09-53F629D4A24D}" type="pres">
      <dgm:prSet presAssocID="{22698DF0-0407-48F9-BAC6-EFA3C1813A45}" presName="vert1" presStyleCnt="0"/>
      <dgm:spPr/>
    </dgm:pt>
  </dgm:ptLst>
  <dgm:cxnLst>
    <dgm:cxn modelId="{FE03C405-DCED-4C18-8F9D-BEFFD62AC3EC}" type="presOf" srcId="{9B72FB86-F990-4E42-BFF1-A547EA39BEA5}" destId="{A304796A-9A19-43DA-9F4F-78B92B01B0E4}" srcOrd="0" destOrd="0" presId="urn:microsoft.com/office/officeart/2008/layout/LinedList"/>
    <dgm:cxn modelId="{904C0408-9132-4A71-BC4E-C6C3C77B80BE}" srcId="{3C812A38-DDAB-4318-8B74-B4363FCB2D1F}" destId="{ACE072C0-BDDC-4856-A1E0-4F25792D9A18}" srcOrd="1" destOrd="0" parTransId="{2BA0074B-F4A1-47B6-946D-9F807669F691}" sibTransId="{7777670F-DFCA-42CF-ACBD-084D58F3D1EF}"/>
    <dgm:cxn modelId="{5FC9581E-6B0E-4D90-8463-6C9F2E4E0035}" srcId="{3C812A38-DDAB-4318-8B74-B4363FCB2D1F}" destId="{22698DF0-0407-48F9-BAC6-EFA3C1813A45}" srcOrd="3" destOrd="0" parTransId="{E1A00513-65AC-48BA-9141-15C168B1E9D7}" sibTransId="{4A2CF633-036F-4E6C-BE59-E68586A7D09E}"/>
    <dgm:cxn modelId="{53972F3D-A337-4C60-A13C-C4C3DD746797}" type="presOf" srcId="{22698DF0-0407-48F9-BAC6-EFA3C1813A45}" destId="{661BA541-CE1E-45A6-B0C1-E7355E4E99AF}" srcOrd="0" destOrd="0" presId="urn:microsoft.com/office/officeart/2008/layout/LinedList"/>
    <dgm:cxn modelId="{C624CB78-C230-4E04-9F9C-3BC76C5356C2}" srcId="{3C812A38-DDAB-4318-8B74-B4363FCB2D1F}" destId="{6F780BEA-F4D7-4065-AD8D-3B7B621452FF}" srcOrd="2" destOrd="0" parTransId="{FF66CA13-2EF5-433A-91B2-FE823CD3CA57}" sibTransId="{0D20FFA3-3F58-4356-B7FA-65105B254D29}"/>
    <dgm:cxn modelId="{AEBBC986-A9B2-4B66-8F63-9501EF93DC42}" type="presOf" srcId="{ACE072C0-BDDC-4856-A1E0-4F25792D9A18}" destId="{1BA0EC80-1466-440B-B963-7C85FAF6ECEE}" srcOrd="0" destOrd="0" presId="urn:microsoft.com/office/officeart/2008/layout/LinedList"/>
    <dgm:cxn modelId="{47E2ACBE-AAEF-4203-AC26-CCA2F55883BB}" type="presOf" srcId="{3C812A38-DDAB-4318-8B74-B4363FCB2D1F}" destId="{8FF676FE-B463-4652-B954-6FC7AF4F04E7}" srcOrd="0" destOrd="0" presId="urn:microsoft.com/office/officeart/2008/layout/LinedList"/>
    <dgm:cxn modelId="{04F06CBF-F8CA-4B08-83E2-1972BAC4ACED}" srcId="{3C812A38-DDAB-4318-8B74-B4363FCB2D1F}" destId="{9B72FB86-F990-4E42-BFF1-A547EA39BEA5}" srcOrd="0" destOrd="0" parTransId="{8503A85E-4928-4CF5-97F9-BFCC98A58BD3}" sibTransId="{98264E83-88B2-49AA-9AEE-5095740B18FC}"/>
    <dgm:cxn modelId="{46051BC2-5C43-4087-97FF-B4FF7612BA07}" type="presOf" srcId="{6F780BEA-F4D7-4065-AD8D-3B7B621452FF}" destId="{2FD34308-73D0-4AC8-886D-20DD9CC684CF}" srcOrd="0" destOrd="0" presId="urn:microsoft.com/office/officeart/2008/layout/LinedList"/>
    <dgm:cxn modelId="{93EDAB0A-E344-4F62-A01C-3207DC36D93C}" type="presParOf" srcId="{8FF676FE-B463-4652-B954-6FC7AF4F04E7}" destId="{DE79256F-D27C-4CCA-9BC2-716F9A6C6A2F}" srcOrd="0" destOrd="0" presId="urn:microsoft.com/office/officeart/2008/layout/LinedList"/>
    <dgm:cxn modelId="{03C173DF-7EBA-4121-BCE5-0613911EEE42}" type="presParOf" srcId="{8FF676FE-B463-4652-B954-6FC7AF4F04E7}" destId="{D7BDC98A-930D-4C4D-96EC-F540DBBDD1D4}" srcOrd="1" destOrd="0" presId="urn:microsoft.com/office/officeart/2008/layout/LinedList"/>
    <dgm:cxn modelId="{01E2E154-40A1-4361-AD80-61477861FB35}" type="presParOf" srcId="{D7BDC98A-930D-4C4D-96EC-F540DBBDD1D4}" destId="{A304796A-9A19-43DA-9F4F-78B92B01B0E4}" srcOrd="0" destOrd="0" presId="urn:microsoft.com/office/officeart/2008/layout/LinedList"/>
    <dgm:cxn modelId="{CE24F6FC-99B0-4C7F-B29F-9E9234999615}" type="presParOf" srcId="{D7BDC98A-930D-4C4D-96EC-F540DBBDD1D4}" destId="{DF793338-7361-473F-A875-4847E3BF7515}" srcOrd="1" destOrd="0" presId="urn:microsoft.com/office/officeart/2008/layout/LinedList"/>
    <dgm:cxn modelId="{9C67E368-5090-4FE4-ABC4-D590BD09E8F6}" type="presParOf" srcId="{8FF676FE-B463-4652-B954-6FC7AF4F04E7}" destId="{32FC847C-F783-46DE-87EB-0827A22FBD21}" srcOrd="2" destOrd="0" presId="urn:microsoft.com/office/officeart/2008/layout/LinedList"/>
    <dgm:cxn modelId="{0F4A344A-A1AF-499E-B7F1-1C559E79A131}" type="presParOf" srcId="{8FF676FE-B463-4652-B954-6FC7AF4F04E7}" destId="{B83CF577-8237-4C21-B4C5-186E62BE77D5}" srcOrd="3" destOrd="0" presId="urn:microsoft.com/office/officeart/2008/layout/LinedList"/>
    <dgm:cxn modelId="{0A063652-DB90-4FA9-91F3-E054FE91BB84}" type="presParOf" srcId="{B83CF577-8237-4C21-B4C5-186E62BE77D5}" destId="{1BA0EC80-1466-440B-B963-7C85FAF6ECEE}" srcOrd="0" destOrd="0" presId="urn:microsoft.com/office/officeart/2008/layout/LinedList"/>
    <dgm:cxn modelId="{CC947683-644B-4DC8-9595-BD030BBD80AC}" type="presParOf" srcId="{B83CF577-8237-4C21-B4C5-186E62BE77D5}" destId="{1DE12D68-2AC1-472F-B3A8-029A604BBF09}" srcOrd="1" destOrd="0" presId="urn:microsoft.com/office/officeart/2008/layout/LinedList"/>
    <dgm:cxn modelId="{C05872A2-8251-449F-8B43-04130D52EC5D}" type="presParOf" srcId="{8FF676FE-B463-4652-B954-6FC7AF4F04E7}" destId="{41023018-13C9-4E23-BC44-64026C5F10F1}" srcOrd="4" destOrd="0" presId="urn:microsoft.com/office/officeart/2008/layout/LinedList"/>
    <dgm:cxn modelId="{AE61DA30-932E-420A-BCB0-F18E6BDE735B}" type="presParOf" srcId="{8FF676FE-B463-4652-B954-6FC7AF4F04E7}" destId="{CDB8291E-98DC-4B3A-884D-1857BBD28C40}" srcOrd="5" destOrd="0" presId="urn:microsoft.com/office/officeart/2008/layout/LinedList"/>
    <dgm:cxn modelId="{0568E4FA-9ACC-4E83-B63E-8B37E8BBF0E5}" type="presParOf" srcId="{CDB8291E-98DC-4B3A-884D-1857BBD28C40}" destId="{2FD34308-73D0-4AC8-886D-20DD9CC684CF}" srcOrd="0" destOrd="0" presId="urn:microsoft.com/office/officeart/2008/layout/LinedList"/>
    <dgm:cxn modelId="{4F621C42-05A3-4C68-8909-6FC51068DA4A}" type="presParOf" srcId="{CDB8291E-98DC-4B3A-884D-1857BBD28C40}" destId="{0A030BFE-9BB2-4F63-9BA1-86F3213268C1}" srcOrd="1" destOrd="0" presId="urn:microsoft.com/office/officeart/2008/layout/LinedList"/>
    <dgm:cxn modelId="{9A03B91D-36AC-4DBC-844F-92507878C670}" type="presParOf" srcId="{8FF676FE-B463-4652-B954-6FC7AF4F04E7}" destId="{3FDDA778-CC88-497F-910E-C4D80353592D}" srcOrd="6" destOrd="0" presId="urn:microsoft.com/office/officeart/2008/layout/LinedList"/>
    <dgm:cxn modelId="{D6ECCC76-B18B-495D-99D3-AC0BF0FCCFD3}" type="presParOf" srcId="{8FF676FE-B463-4652-B954-6FC7AF4F04E7}" destId="{F91414AD-0329-45E8-A4E8-33C82F7A37A7}" srcOrd="7" destOrd="0" presId="urn:microsoft.com/office/officeart/2008/layout/LinedList"/>
    <dgm:cxn modelId="{CDE2696D-963D-48DB-BDDD-6BB961799613}" type="presParOf" srcId="{F91414AD-0329-45E8-A4E8-33C82F7A37A7}" destId="{661BA541-CE1E-45A6-B0C1-E7355E4E99AF}" srcOrd="0" destOrd="0" presId="urn:microsoft.com/office/officeart/2008/layout/LinedList"/>
    <dgm:cxn modelId="{323480D6-883B-4AA9-974C-DF3D97010951}" type="presParOf" srcId="{F91414AD-0329-45E8-A4E8-33C82F7A37A7}" destId="{D7BB3644-726C-4DBA-BC09-53F629D4A24D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4B8FC37-6B46-4AC1-A677-428BD645F40A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8EE9C2E1-EA39-4391-A6D2-B3F750FD39DF}">
      <dgm:prSet/>
      <dgm:spPr/>
      <dgm:t>
        <a:bodyPr/>
        <a:lstStyle/>
        <a:p>
          <a:r>
            <a:rPr lang="en-US" dirty="0"/>
            <a:t>RPA		</a:t>
          </a:r>
        </a:p>
      </dgm:t>
    </dgm:pt>
    <dgm:pt modelId="{1346F691-9A53-4B61-A980-E52F1347F058}" type="parTrans" cxnId="{B051B271-226F-4310-A63E-CFA4B1B9C440}">
      <dgm:prSet/>
      <dgm:spPr/>
      <dgm:t>
        <a:bodyPr/>
        <a:lstStyle/>
        <a:p>
          <a:endParaRPr lang="en-US"/>
        </a:p>
      </dgm:t>
    </dgm:pt>
    <dgm:pt modelId="{3F215E9D-BADD-44FE-92B2-05591C8177C1}" type="sibTrans" cxnId="{B051B271-226F-4310-A63E-CFA4B1B9C440}">
      <dgm:prSet/>
      <dgm:spPr/>
      <dgm:t>
        <a:bodyPr/>
        <a:lstStyle/>
        <a:p>
          <a:endParaRPr lang="en-US"/>
        </a:p>
      </dgm:t>
    </dgm:pt>
    <dgm:pt modelId="{ED3599C0-1124-4BD7-AA0D-4169336ADAF5}">
      <dgm:prSet/>
      <dgm:spPr/>
      <dgm:t>
        <a:bodyPr/>
        <a:lstStyle/>
        <a:p>
          <a:r>
            <a:rPr lang="en-US" dirty="0"/>
            <a:t>ML Programming Language</a:t>
          </a:r>
        </a:p>
      </dgm:t>
    </dgm:pt>
    <dgm:pt modelId="{425A5094-0C7E-4188-AFEE-506034CAFA80}" type="parTrans" cxnId="{44EA7F83-46CF-4093-998A-2C631A7CFFB7}">
      <dgm:prSet/>
      <dgm:spPr/>
      <dgm:t>
        <a:bodyPr/>
        <a:lstStyle/>
        <a:p>
          <a:endParaRPr lang="en-US"/>
        </a:p>
      </dgm:t>
    </dgm:pt>
    <dgm:pt modelId="{2EE7F6A1-C6C6-4DF0-9E90-C63B65D176FB}" type="sibTrans" cxnId="{44EA7F83-46CF-4093-998A-2C631A7CFFB7}">
      <dgm:prSet/>
      <dgm:spPr/>
      <dgm:t>
        <a:bodyPr/>
        <a:lstStyle/>
        <a:p>
          <a:endParaRPr lang="en-US"/>
        </a:p>
      </dgm:t>
    </dgm:pt>
    <dgm:pt modelId="{781BFEFC-75C3-4F50-90E3-4BB69FCBB622}">
      <dgm:prSet/>
      <dgm:spPr/>
      <dgm:t>
        <a:bodyPr/>
        <a:lstStyle/>
        <a:p>
          <a:r>
            <a:rPr lang="en-US" dirty="0">
              <a:hlinkClick xmlns:r="http://schemas.openxmlformats.org/officeDocument/2006/relationships" r:id="rId1"/>
            </a:rPr>
            <a:t>rpa.ai.usecase@gmail.com</a:t>
          </a:r>
          <a:endParaRPr lang="en-US" dirty="0"/>
        </a:p>
      </dgm:t>
    </dgm:pt>
    <dgm:pt modelId="{5545650E-9FBA-421B-B546-EA3A100024EC}" type="parTrans" cxnId="{D4FFC40C-35EE-4C16-82BA-3AD660D713A3}">
      <dgm:prSet/>
      <dgm:spPr/>
      <dgm:t>
        <a:bodyPr/>
        <a:lstStyle/>
        <a:p>
          <a:endParaRPr lang="de-DE"/>
        </a:p>
      </dgm:t>
    </dgm:pt>
    <dgm:pt modelId="{916D8FF8-16E2-4DED-84EA-57338D205614}" type="sibTrans" cxnId="{D4FFC40C-35EE-4C16-82BA-3AD660D713A3}">
      <dgm:prSet/>
      <dgm:spPr/>
      <dgm:t>
        <a:bodyPr/>
        <a:lstStyle/>
        <a:p>
          <a:endParaRPr lang="de-DE"/>
        </a:p>
      </dgm:t>
    </dgm:pt>
    <dgm:pt modelId="{B39DBA7C-7EB9-4CDB-AAFD-2EF3F761D102}">
      <dgm:prSet/>
      <dgm:spPr/>
      <dgm:t>
        <a:bodyPr/>
        <a:lstStyle/>
        <a:p>
          <a:r>
            <a:rPr lang="en-US" dirty="0" err="1"/>
            <a:t>UiPath</a:t>
          </a:r>
          <a:r>
            <a:rPr lang="en-US" dirty="0"/>
            <a:t> (no Orchestrator)</a:t>
          </a:r>
        </a:p>
      </dgm:t>
    </dgm:pt>
    <dgm:pt modelId="{577521F9-3EA0-4A5D-A5A5-A517BD8DF65A}" type="parTrans" cxnId="{2AC70C05-D9E7-4363-973B-0F65AE1B8E64}">
      <dgm:prSet/>
      <dgm:spPr/>
      <dgm:t>
        <a:bodyPr/>
        <a:lstStyle/>
        <a:p>
          <a:endParaRPr lang="de-DE"/>
        </a:p>
      </dgm:t>
    </dgm:pt>
    <dgm:pt modelId="{0782132C-4415-4F59-AEE3-DEDB15C35B85}" type="sibTrans" cxnId="{2AC70C05-D9E7-4363-973B-0F65AE1B8E64}">
      <dgm:prSet/>
      <dgm:spPr/>
      <dgm:t>
        <a:bodyPr/>
        <a:lstStyle/>
        <a:p>
          <a:endParaRPr lang="de-DE"/>
        </a:p>
      </dgm:t>
    </dgm:pt>
    <dgm:pt modelId="{6A365A45-C32F-4F24-BEF9-A137E255A27C}">
      <dgm:prSet/>
      <dgm:spPr/>
      <dgm:t>
        <a:bodyPr/>
        <a:lstStyle/>
        <a:p>
          <a:r>
            <a:rPr lang="en-US" dirty="0"/>
            <a:t>R</a:t>
          </a:r>
        </a:p>
      </dgm:t>
    </dgm:pt>
    <dgm:pt modelId="{2C7FBDF9-B52E-4E03-AD5A-7DAE3F0C4B79}" type="parTrans" cxnId="{B4E009F8-2B78-4DCD-9437-BE5264D6EB79}">
      <dgm:prSet/>
      <dgm:spPr/>
      <dgm:t>
        <a:bodyPr/>
        <a:lstStyle/>
        <a:p>
          <a:endParaRPr lang="de-DE"/>
        </a:p>
      </dgm:t>
    </dgm:pt>
    <dgm:pt modelId="{FF4BBC2D-8518-4906-B148-1C64460992FE}" type="sibTrans" cxnId="{B4E009F8-2B78-4DCD-9437-BE5264D6EB79}">
      <dgm:prSet/>
      <dgm:spPr/>
      <dgm:t>
        <a:bodyPr/>
        <a:lstStyle/>
        <a:p>
          <a:endParaRPr lang="de-DE"/>
        </a:p>
      </dgm:t>
    </dgm:pt>
    <dgm:pt modelId="{18712827-A5B6-4131-B708-7C5967FB8F77}">
      <dgm:prSet/>
      <dgm:spPr/>
      <dgm:t>
        <a:bodyPr/>
        <a:lstStyle/>
        <a:p>
          <a:r>
            <a:rPr lang="en-US" dirty="0"/>
            <a:t>Mail engine</a:t>
          </a:r>
        </a:p>
      </dgm:t>
    </dgm:pt>
    <dgm:pt modelId="{2E1C3BB2-7B86-4C3D-AD49-56776BDBED3F}" type="parTrans" cxnId="{B8BEEC99-698D-4EA7-8BDB-8FFC876262C8}">
      <dgm:prSet/>
      <dgm:spPr/>
      <dgm:t>
        <a:bodyPr/>
        <a:lstStyle/>
        <a:p>
          <a:endParaRPr lang="de-DE"/>
        </a:p>
      </dgm:t>
    </dgm:pt>
    <dgm:pt modelId="{461AA75E-34A7-4042-9657-34E22B83009D}" type="sibTrans" cxnId="{B8BEEC99-698D-4EA7-8BDB-8FFC876262C8}">
      <dgm:prSet/>
      <dgm:spPr/>
      <dgm:t>
        <a:bodyPr/>
        <a:lstStyle/>
        <a:p>
          <a:endParaRPr lang="de-DE"/>
        </a:p>
      </dgm:t>
    </dgm:pt>
    <dgm:pt modelId="{F08D4E43-3767-49C3-801D-91DCDF657E2D}">
      <dgm:prSet/>
      <dgm:spPr/>
      <dgm:t>
        <a:bodyPr/>
        <a:lstStyle/>
        <a:p>
          <a:r>
            <a:rPr lang="en-US" dirty="0" err="1"/>
            <a:t>Rshiny</a:t>
          </a:r>
          <a:r>
            <a:rPr lang="en-US" dirty="0"/>
            <a:t> | QlikView</a:t>
          </a:r>
        </a:p>
      </dgm:t>
    </dgm:pt>
    <dgm:pt modelId="{342A0E94-A0CC-4094-9675-B8B7C3015B92}" type="parTrans" cxnId="{C10E1758-A1F4-473E-8AF6-4C30B9298F8F}">
      <dgm:prSet/>
      <dgm:spPr/>
      <dgm:t>
        <a:bodyPr/>
        <a:lstStyle/>
        <a:p>
          <a:endParaRPr lang="de-DE"/>
        </a:p>
      </dgm:t>
    </dgm:pt>
    <dgm:pt modelId="{CADFD820-99AC-4C83-811B-D0FC10E4DE38}" type="sibTrans" cxnId="{C10E1758-A1F4-473E-8AF6-4C30B9298F8F}">
      <dgm:prSet/>
      <dgm:spPr/>
      <dgm:t>
        <a:bodyPr/>
        <a:lstStyle/>
        <a:p>
          <a:endParaRPr lang="de-DE"/>
        </a:p>
      </dgm:t>
    </dgm:pt>
    <dgm:pt modelId="{8290504C-97D0-4C70-A770-F8464D06ABF1}">
      <dgm:prSet/>
      <dgm:spPr/>
      <dgm:t>
        <a:bodyPr/>
        <a:lstStyle/>
        <a:p>
          <a:r>
            <a:rPr lang="en-US" dirty="0" err="1"/>
            <a:t>Rossmann</a:t>
          </a:r>
          <a:r>
            <a:rPr lang="en-US" dirty="0"/>
            <a:t> Sales (Kaggle)</a:t>
          </a:r>
        </a:p>
      </dgm:t>
    </dgm:pt>
    <dgm:pt modelId="{AAFE88E6-07E3-48AF-AD8A-CC4E58B48ED4}" type="parTrans" cxnId="{71376A84-9707-4AC8-817D-A41DEE56BEB1}">
      <dgm:prSet/>
      <dgm:spPr/>
      <dgm:t>
        <a:bodyPr/>
        <a:lstStyle/>
        <a:p>
          <a:endParaRPr lang="de-DE"/>
        </a:p>
      </dgm:t>
    </dgm:pt>
    <dgm:pt modelId="{75395A5F-F4E7-4AAF-B6F3-45DB6AFCA671}" type="sibTrans" cxnId="{71376A84-9707-4AC8-817D-A41DEE56BEB1}">
      <dgm:prSet/>
      <dgm:spPr/>
      <dgm:t>
        <a:bodyPr/>
        <a:lstStyle/>
        <a:p>
          <a:endParaRPr lang="de-DE"/>
        </a:p>
      </dgm:t>
    </dgm:pt>
    <dgm:pt modelId="{576EF0D2-1855-48FB-9889-E68561EA79CC}">
      <dgm:prSet/>
      <dgm:spPr/>
      <dgm:t>
        <a:bodyPr/>
        <a:lstStyle/>
        <a:p>
          <a:r>
            <a:rPr lang="en-US" dirty="0"/>
            <a:t>Timeline	: 2013 – 2015</a:t>
          </a:r>
        </a:p>
      </dgm:t>
    </dgm:pt>
    <dgm:pt modelId="{842B5EF3-D09D-4F78-AA95-9FD06B940319}" type="parTrans" cxnId="{1D422F7A-8B7A-46D9-BE84-71260A02BE09}">
      <dgm:prSet/>
      <dgm:spPr/>
      <dgm:t>
        <a:bodyPr/>
        <a:lstStyle/>
        <a:p>
          <a:endParaRPr lang="de-DE"/>
        </a:p>
      </dgm:t>
    </dgm:pt>
    <dgm:pt modelId="{48BF4682-0FD2-46B6-9C14-E12550709D31}" type="sibTrans" cxnId="{1D422F7A-8B7A-46D9-BE84-71260A02BE09}">
      <dgm:prSet/>
      <dgm:spPr/>
      <dgm:t>
        <a:bodyPr/>
        <a:lstStyle/>
        <a:p>
          <a:endParaRPr lang="de-DE"/>
        </a:p>
      </dgm:t>
    </dgm:pt>
    <dgm:pt modelId="{AB2B87E4-7F9C-4E3B-AC34-22F887FD6CE0}">
      <dgm:prSet/>
      <dgm:spPr/>
      <dgm:t>
        <a:bodyPr/>
        <a:lstStyle/>
        <a:p>
          <a:r>
            <a:rPr lang="en-US" dirty="0"/>
            <a:t>No. Stores	: 1115 </a:t>
          </a:r>
        </a:p>
      </dgm:t>
    </dgm:pt>
    <dgm:pt modelId="{FD29839E-AC70-4392-9C96-815D41BBB902}" type="parTrans" cxnId="{21B65B8F-E316-46A5-96A9-9A8D1A5CFAC5}">
      <dgm:prSet/>
      <dgm:spPr/>
      <dgm:t>
        <a:bodyPr/>
        <a:lstStyle/>
        <a:p>
          <a:endParaRPr lang="de-DE"/>
        </a:p>
      </dgm:t>
    </dgm:pt>
    <dgm:pt modelId="{A5BE88B2-800B-4850-930A-06E3EA4CC651}" type="sibTrans" cxnId="{21B65B8F-E316-46A5-96A9-9A8D1A5CFAC5}">
      <dgm:prSet/>
      <dgm:spPr/>
      <dgm:t>
        <a:bodyPr/>
        <a:lstStyle/>
        <a:p>
          <a:endParaRPr lang="de-DE"/>
        </a:p>
      </dgm:t>
    </dgm:pt>
    <dgm:pt modelId="{B41287EF-42B4-473B-94CB-C7AE86451CD7}">
      <dgm:prSet/>
      <dgm:spPr/>
      <dgm:t>
        <a:bodyPr/>
        <a:lstStyle/>
        <a:p>
          <a:r>
            <a:rPr lang="en-US" dirty="0"/>
            <a:t>Datasets</a:t>
          </a:r>
        </a:p>
      </dgm:t>
    </dgm:pt>
    <dgm:pt modelId="{37417B11-7DA0-47E1-8671-B1B2769977A8}" type="parTrans" cxnId="{6F6AAD89-B2E0-42FB-8DCD-EEC23CD5E483}">
      <dgm:prSet/>
      <dgm:spPr/>
      <dgm:t>
        <a:bodyPr/>
        <a:lstStyle/>
        <a:p>
          <a:endParaRPr lang="de-DE"/>
        </a:p>
      </dgm:t>
    </dgm:pt>
    <dgm:pt modelId="{21EA4527-0EB3-46FA-B6E8-B3B2A909501F}" type="sibTrans" cxnId="{6F6AAD89-B2E0-42FB-8DCD-EEC23CD5E483}">
      <dgm:prSet/>
      <dgm:spPr/>
      <dgm:t>
        <a:bodyPr/>
        <a:lstStyle/>
        <a:p>
          <a:endParaRPr lang="de-DE"/>
        </a:p>
      </dgm:t>
    </dgm:pt>
    <dgm:pt modelId="{9751DB5F-6552-47F7-8A84-663ACDCAAE0C}" type="pres">
      <dgm:prSet presAssocID="{B4B8FC37-6B46-4AC1-A677-428BD645F40A}" presName="linear" presStyleCnt="0">
        <dgm:presLayoutVars>
          <dgm:dir/>
          <dgm:animLvl val="lvl"/>
          <dgm:resizeHandles val="exact"/>
        </dgm:presLayoutVars>
      </dgm:prSet>
      <dgm:spPr/>
    </dgm:pt>
    <dgm:pt modelId="{CE6E021E-472A-4C64-A0DF-64317DCD1DCD}" type="pres">
      <dgm:prSet presAssocID="{B41287EF-42B4-473B-94CB-C7AE86451CD7}" presName="parentLin" presStyleCnt="0"/>
      <dgm:spPr/>
    </dgm:pt>
    <dgm:pt modelId="{B8D60415-7147-4365-B775-0F95DE346B00}" type="pres">
      <dgm:prSet presAssocID="{B41287EF-42B4-473B-94CB-C7AE86451CD7}" presName="parentLeftMargin" presStyleLbl="node1" presStyleIdx="0" presStyleCnt="4"/>
      <dgm:spPr/>
    </dgm:pt>
    <dgm:pt modelId="{B9209E49-B651-4451-8AE7-D0AC9AEA915B}" type="pres">
      <dgm:prSet presAssocID="{B41287EF-42B4-473B-94CB-C7AE86451CD7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345B062C-A042-462E-A397-1E42BB566431}" type="pres">
      <dgm:prSet presAssocID="{B41287EF-42B4-473B-94CB-C7AE86451CD7}" presName="negativeSpace" presStyleCnt="0"/>
      <dgm:spPr/>
    </dgm:pt>
    <dgm:pt modelId="{A5977876-D3CF-414E-87EA-5415696E518B}" type="pres">
      <dgm:prSet presAssocID="{B41287EF-42B4-473B-94CB-C7AE86451CD7}" presName="childText" presStyleLbl="conFgAcc1" presStyleIdx="0" presStyleCnt="4">
        <dgm:presLayoutVars>
          <dgm:bulletEnabled val="1"/>
        </dgm:presLayoutVars>
      </dgm:prSet>
      <dgm:spPr/>
    </dgm:pt>
    <dgm:pt modelId="{03A69E01-B156-4D0A-B2B7-9E9D88176BDC}" type="pres">
      <dgm:prSet presAssocID="{21EA4527-0EB3-46FA-B6E8-B3B2A909501F}" presName="spaceBetweenRectangles" presStyleCnt="0"/>
      <dgm:spPr/>
    </dgm:pt>
    <dgm:pt modelId="{08EFABE1-5CAF-4294-9CA2-25D3F56CCF92}" type="pres">
      <dgm:prSet presAssocID="{8EE9C2E1-EA39-4391-A6D2-B3F750FD39DF}" presName="parentLin" presStyleCnt="0"/>
      <dgm:spPr/>
    </dgm:pt>
    <dgm:pt modelId="{3B52622F-6703-4C02-A861-BF82AA433870}" type="pres">
      <dgm:prSet presAssocID="{8EE9C2E1-EA39-4391-A6D2-B3F750FD39DF}" presName="parentLeftMargin" presStyleLbl="node1" presStyleIdx="0" presStyleCnt="4"/>
      <dgm:spPr/>
    </dgm:pt>
    <dgm:pt modelId="{2881F533-99A5-4632-8DFE-6D7FC5C90A5F}" type="pres">
      <dgm:prSet presAssocID="{8EE9C2E1-EA39-4391-A6D2-B3F750FD39DF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5AA82AD-4D17-4501-8064-B0A6AB5D7EFC}" type="pres">
      <dgm:prSet presAssocID="{8EE9C2E1-EA39-4391-A6D2-B3F750FD39DF}" presName="negativeSpace" presStyleCnt="0"/>
      <dgm:spPr/>
    </dgm:pt>
    <dgm:pt modelId="{B8209303-595D-4BE2-8FAB-44FA920C7731}" type="pres">
      <dgm:prSet presAssocID="{8EE9C2E1-EA39-4391-A6D2-B3F750FD39DF}" presName="childText" presStyleLbl="conFgAcc1" presStyleIdx="1" presStyleCnt="4">
        <dgm:presLayoutVars>
          <dgm:bulletEnabled val="1"/>
        </dgm:presLayoutVars>
      </dgm:prSet>
      <dgm:spPr/>
    </dgm:pt>
    <dgm:pt modelId="{8801D0EC-7512-4427-888A-61C730149967}" type="pres">
      <dgm:prSet presAssocID="{3F215E9D-BADD-44FE-92B2-05591C8177C1}" presName="spaceBetweenRectangles" presStyleCnt="0"/>
      <dgm:spPr/>
    </dgm:pt>
    <dgm:pt modelId="{9287AD93-F340-4D76-9E63-7CADE462F35B}" type="pres">
      <dgm:prSet presAssocID="{ED3599C0-1124-4BD7-AA0D-4169336ADAF5}" presName="parentLin" presStyleCnt="0"/>
      <dgm:spPr/>
    </dgm:pt>
    <dgm:pt modelId="{A3A1737C-FBEB-4A0E-9D31-B63480F7687F}" type="pres">
      <dgm:prSet presAssocID="{ED3599C0-1124-4BD7-AA0D-4169336ADAF5}" presName="parentLeftMargin" presStyleLbl="node1" presStyleIdx="1" presStyleCnt="4"/>
      <dgm:spPr/>
    </dgm:pt>
    <dgm:pt modelId="{35E5A067-FF48-456F-BD6E-C4B503EAFEC0}" type="pres">
      <dgm:prSet presAssocID="{ED3599C0-1124-4BD7-AA0D-4169336ADAF5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EA00550-A8DE-4F7F-9432-91C2959895D5}" type="pres">
      <dgm:prSet presAssocID="{ED3599C0-1124-4BD7-AA0D-4169336ADAF5}" presName="negativeSpace" presStyleCnt="0"/>
      <dgm:spPr/>
    </dgm:pt>
    <dgm:pt modelId="{FB872960-3313-4CCA-9E75-6B4D41A210E0}" type="pres">
      <dgm:prSet presAssocID="{ED3599C0-1124-4BD7-AA0D-4169336ADAF5}" presName="childText" presStyleLbl="conFgAcc1" presStyleIdx="2" presStyleCnt="4">
        <dgm:presLayoutVars>
          <dgm:bulletEnabled val="1"/>
        </dgm:presLayoutVars>
      </dgm:prSet>
      <dgm:spPr/>
    </dgm:pt>
    <dgm:pt modelId="{F4475628-2597-4D90-ABEB-3663306572AD}" type="pres">
      <dgm:prSet presAssocID="{2EE7F6A1-C6C6-4DF0-9E90-C63B65D176FB}" presName="spaceBetweenRectangles" presStyleCnt="0"/>
      <dgm:spPr/>
    </dgm:pt>
    <dgm:pt modelId="{B8EC3A3D-3218-4A77-A84C-9F0834B10342}" type="pres">
      <dgm:prSet presAssocID="{18712827-A5B6-4131-B708-7C5967FB8F77}" presName="parentLin" presStyleCnt="0"/>
      <dgm:spPr/>
    </dgm:pt>
    <dgm:pt modelId="{738F7F7E-3943-4DCD-809C-C8E35BBD68C8}" type="pres">
      <dgm:prSet presAssocID="{18712827-A5B6-4131-B708-7C5967FB8F77}" presName="parentLeftMargin" presStyleLbl="node1" presStyleIdx="2" presStyleCnt="4"/>
      <dgm:spPr/>
    </dgm:pt>
    <dgm:pt modelId="{20FCF8C9-61E5-4A06-BC17-C4B58591D86B}" type="pres">
      <dgm:prSet presAssocID="{18712827-A5B6-4131-B708-7C5967FB8F77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F31E7A59-AC3C-41D8-B786-2C5BB93027E7}" type="pres">
      <dgm:prSet presAssocID="{18712827-A5B6-4131-B708-7C5967FB8F77}" presName="negativeSpace" presStyleCnt="0"/>
      <dgm:spPr/>
    </dgm:pt>
    <dgm:pt modelId="{12FE856A-FE30-42E7-91FE-6C52E08833E0}" type="pres">
      <dgm:prSet presAssocID="{18712827-A5B6-4131-B708-7C5967FB8F77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2AC70C05-D9E7-4363-973B-0F65AE1B8E64}" srcId="{8EE9C2E1-EA39-4391-A6D2-B3F750FD39DF}" destId="{B39DBA7C-7EB9-4CDB-AAFD-2EF3F761D102}" srcOrd="0" destOrd="0" parTransId="{577521F9-3EA0-4A5D-A5A5-A517BD8DF65A}" sibTransId="{0782132C-4415-4F59-AEE3-DEDB15C35B85}"/>
    <dgm:cxn modelId="{610C8E07-D7BA-422D-87DC-F5B98626F191}" type="presOf" srcId="{ED3599C0-1124-4BD7-AA0D-4169336ADAF5}" destId="{35E5A067-FF48-456F-BD6E-C4B503EAFEC0}" srcOrd="1" destOrd="0" presId="urn:microsoft.com/office/officeart/2005/8/layout/list1"/>
    <dgm:cxn modelId="{4C95BD08-CF0C-4CC2-A669-F22E07A92ECC}" type="presOf" srcId="{576EF0D2-1855-48FB-9889-E68561EA79CC}" destId="{A5977876-D3CF-414E-87EA-5415696E518B}" srcOrd="0" destOrd="1" presId="urn:microsoft.com/office/officeart/2005/8/layout/list1"/>
    <dgm:cxn modelId="{D4FFC40C-35EE-4C16-82BA-3AD660D713A3}" srcId="{18712827-A5B6-4131-B708-7C5967FB8F77}" destId="{781BFEFC-75C3-4F50-90E3-4BB69FCBB622}" srcOrd="0" destOrd="0" parTransId="{5545650E-9FBA-421B-B546-EA3A100024EC}" sibTransId="{916D8FF8-16E2-4DED-84EA-57338D205614}"/>
    <dgm:cxn modelId="{BBF4B124-A18C-4D28-97BC-5B723040D33C}" type="presOf" srcId="{18712827-A5B6-4131-B708-7C5967FB8F77}" destId="{20FCF8C9-61E5-4A06-BC17-C4B58591D86B}" srcOrd="1" destOrd="0" presId="urn:microsoft.com/office/officeart/2005/8/layout/list1"/>
    <dgm:cxn modelId="{2CBF6C37-FA16-40B4-9862-0287E9C7C69C}" type="presOf" srcId="{8EE9C2E1-EA39-4391-A6D2-B3F750FD39DF}" destId="{2881F533-99A5-4632-8DFE-6D7FC5C90A5F}" srcOrd="1" destOrd="0" presId="urn:microsoft.com/office/officeart/2005/8/layout/list1"/>
    <dgm:cxn modelId="{44B3CD66-E421-4A67-A960-133F14949D33}" type="presOf" srcId="{B39DBA7C-7EB9-4CDB-AAFD-2EF3F761D102}" destId="{B8209303-595D-4BE2-8FAB-44FA920C7731}" srcOrd="0" destOrd="0" presId="urn:microsoft.com/office/officeart/2005/8/layout/list1"/>
    <dgm:cxn modelId="{B051B271-226F-4310-A63E-CFA4B1B9C440}" srcId="{B4B8FC37-6B46-4AC1-A677-428BD645F40A}" destId="{8EE9C2E1-EA39-4391-A6D2-B3F750FD39DF}" srcOrd="1" destOrd="0" parTransId="{1346F691-9A53-4B61-A980-E52F1347F058}" sibTransId="{3F215E9D-BADD-44FE-92B2-05591C8177C1}"/>
    <dgm:cxn modelId="{78744A56-50DE-4934-9965-7378129C2FC1}" type="presOf" srcId="{781BFEFC-75C3-4F50-90E3-4BB69FCBB622}" destId="{12FE856A-FE30-42E7-91FE-6C52E08833E0}" srcOrd="0" destOrd="0" presId="urn:microsoft.com/office/officeart/2005/8/layout/list1"/>
    <dgm:cxn modelId="{C10E1758-A1F4-473E-8AF6-4C30B9298F8F}" srcId="{ED3599C0-1124-4BD7-AA0D-4169336ADAF5}" destId="{F08D4E43-3767-49C3-801D-91DCDF657E2D}" srcOrd="1" destOrd="0" parTransId="{342A0E94-A0CC-4094-9675-B8B7C3015B92}" sibTransId="{CADFD820-99AC-4C83-811B-D0FC10E4DE38}"/>
    <dgm:cxn modelId="{1DBDA179-8061-4E1B-854F-5BC769E99854}" type="presOf" srcId="{AB2B87E4-7F9C-4E3B-AC34-22F887FD6CE0}" destId="{A5977876-D3CF-414E-87EA-5415696E518B}" srcOrd="0" destOrd="2" presId="urn:microsoft.com/office/officeart/2005/8/layout/list1"/>
    <dgm:cxn modelId="{1D422F7A-8B7A-46D9-BE84-71260A02BE09}" srcId="{B41287EF-42B4-473B-94CB-C7AE86451CD7}" destId="{576EF0D2-1855-48FB-9889-E68561EA79CC}" srcOrd="1" destOrd="0" parTransId="{842B5EF3-D09D-4F78-AA95-9FD06B940319}" sibTransId="{48BF4682-0FD2-46B6-9C14-E12550709D31}"/>
    <dgm:cxn modelId="{25D0BF7D-65CA-4526-8B51-7113D843CDB6}" type="presOf" srcId="{B41287EF-42B4-473B-94CB-C7AE86451CD7}" destId="{B8D60415-7147-4365-B775-0F95DE346B00}" srcOrd="0" destOrd="0" presId="urn:microsoft.com/office/officeart/2005/8/layout/list1"/>
    <dgm:cxn modelId="{917B8B82-4365-4441-A6E7-C968E1CE8C5C}" type="presOf" srcId="{8EE9C2E1-EA39-4391-A6D2-B3F750FD39DF}" destId="{3B52622F-6703-4C02-A861-BF82AA433870}" srcOrd="0" destOrd="0" presId="urn:microsoft.com/office/officeart/2005/8/layout/list1"/>
    <dgm:cxn modelId="{44EA7F83-46CF-4093-998A-2C631A7CFFB7}" srcId="{B4B8FC37-6B46-4AC1-A677-428BD645F40A}" destId="{ED3599C0-1124-4BD7-AA0D-4169336ADAF5}" srcOrd="2" destOrd="0" parTransId="{425A5094-0C7E-4188-AFEE-506034CAFA80}" sibTransId="{2EE7F6A1-C6C6-4DF0-9E90-C63B65D176FB}"/>
    <dgm:cxn modelId="{71376A84-9707-4AC8-817D-A41DEE56BEB1}" srcId="{B41287EF-42B4-473B-94CB-C7AE86451CD7}" destId="{8290504C-97D0-4C70-A770-F8464D06ABF1}" srcOrd="0" destOrd="0" parTransId="{AAFE88E6-07E3-48AF-AD8A-CC4E58B48ED4}" sibTransId="{75395A5F-F4E7-4AAF-B6F3-45DB6AFCA671}"/>
    <dgm:cxn modelId="{39454186-C57F-48F8-AB07-B57DA9D089A5}" type="presOf" srcId="{8290504C-97D0-4C70-A770-F8464D06ABF1}" destId="{A5977876-D3CF-414E-87EA-5415696E518B}" srcOrd="0" destOrd="0" presId="urn:microsoft.com/office/officeart/2005/8/layout/list1"/>
    <dgm:cxn modelId="{6F6AAD89-B2E0-42FB-8DCD-EEC23CD5E483}" srcId="{B4B8FC37-6B46-4AC1-A677-428BD645F40A}" destId="{B41287EF-42B4-473B-94CB-C7AE86451CD7}" srcOrd="0" destOrd="0" parTransId="{37417B11-7DA0-47E1-8671-B1B2769977A8}" sibTransId="{21EA4527-0EB3-46FA-B6E8-B3B2A909501F}"/>
    <dgm:cxn modelId="{21B65B8F-E316-46A5-96A9-9A8D1A5CFAC5}" srcId="{B41287EF-42B4-473B-94CB-C7AE86451CD7}" destId="{AB2B87E4-7F9C-4E3B-AC34-22F887FD6CE0}" srcOrd="2" destOrd="0" parTransId="{FD29839E-AC70-4392-9C96-815D41BBB902}" sibTransId="{A5BE88B2-800B-4850-930A-06E3EA4CC651}"/>
    <dgm:cxn modelId="{AF5FC597-A279-45E7-BC6B-878E7F3436E8}" type="presOf" srcId="{18712827-A5B6-4131-B708-7C5967FB8F77}" destId="{738F7F7E-3943-4DCD-809C-C8E35BBD68C8}" srcOrd="0" destOrd="0" presId="urn:microsoft.com/office/officeart/2005/8/layout/list1"/>
    <dgm:cxn modelId="{B8BEEC99-698D-4EA7-8BDB-8FFC876262C8}" srcId="{B4B8FC37-6B46-4AC1-A677-428BD645F40A}" destId="{18712827-A5B6-4131-B708-7C5967FB8F77}" srcOrd="3" destOrd="0" parTransId="{2E1C3BB2-7B86-4C3D-AD49-56776BDBED3F}" sibTransId="{461AA75E-34A7-4042-9657-34E22B83009D}"/>
    <dgm:cxn modelId="{FBAD919F-9A40-4109-9B86-EE7215D56A1E}" type="presOf" srcId="{B41287EF-42B4-473B-94CB-C7AE86451CD7}" destId="{B9209E49-B651-4451-8AE7-D0AC9AEA915B}" srcOrd="1" destOrd="0" presId="urn:microsoft.com/office/officeart/2005/8/layout/list1"/>
    <dgm:cxn modelId="{4C154EAF-2656-4E9E-86C2-27F822250123}" type="presOf" srcId="{ED3599C0-1124-4BD7-AA0D-4169336ADAF5}" destId="{A3A1737C-FBEB-4A0E-9D31-B63480F7687F}" srcOrd="0" destOrd="0" presId="urn:microsoft.com/office/officeart/2005/8/layout/list1"/>
    <dgm:cxn modelId="{0DA7C9BA-CB45-4838-A2F5-C54E1AC8015C}" type="presOf" srcId="{B4B8FC37-6B46-4AC1-A677-428BD645F40A}" destId="{9751DB5F-6552-47F7-8A84-663ACDCAAE0C}" srcOrd="0" destOrd="0" presId="urn:microsoft.com/office/officeart/2005/8/layout/list1"/>
    <dgm:cxn modelId="{4F0D75CD-7F22-4AFE-8684-5949A6870B3F}" type="presOf" srcId="{6A365A45-C32F-4F24-BEF9-A137E255A27C}" destId="{FB872960-3313-4CCA-9E75-6B4D41A210E0}" srcOrd="0" destOrd="0" presId="urn:microsoft.com/office/officeart/2005/8/layout/list1"/>
    <dgm:cxn modelId="{28D4F4E4-DAA0-49DB-B128-ADAAD201369D}" type="presOf" srcId="{F08D4E43-3767-49C3-801D-91DCDF657E2D}" destId="{FB872960-3313-4CCA-9E75-6B4D41A210E0}" srcOrd="0" destOrd="1" presId="urn:microsoft.com/office/officeart/2005/8/layout/list1"/>
    <dgm:cxn modelId="{B4E009F8-2B78-4DCD-9437-BE5264D6EB79}" srcId="{ED3599C0-1124-4BD7-AA0D-4169336ADAF5}" destId="{6A365A45-C32F-4F24-BEF9-A137E255A27C}" srcOrd="0" destOrd="0" parTransId="{2C7FBDF9-B52E-4E03-AD5A-7DAE3F0C4B79}" sibTransId="{FF4BBC2D-8518-4906-B148-1C64460992FE}"/>
    <dgm:cxn modelId="{A271FBFE-298C-4870-BFDB-032052EC3363}" type="presParOf" srcId="{9751DB5F-6552-47F7-8A84-663ACDCAAE0C}" destId="{CE6E021E-472A-4C64-A0DF-64317DCD1DCD}" srcOrd="0" destOrd="0" presId="urn:microsoft.com/office/officeart/2005/8/layout/list1"/>
    <dgm:cxn modelId="{C7EEE6EF-2575-47B2-9268-35B2BDFBDA74}" type="presParOf" srcId="{CE6E021E-472A-4C64-A0DF-64317DCD1DCD}" destId="{B8D60415-7147-4365-B775-0F95DE346B00}" srcOrd="0" destOrd="0" presId="urn:microsoft.com/office/officeart/2005/8/layout/list1"/>
    <dgm:cxn modelId="{1F86793A-7AF0-46BC-B6E8-3B9A493CEEBE}" type="presParOf" srcId="{CE6E021E-472A-4C64-A0DF-64317DCD1DCD}" destId="{B9209E49-B651-4451-8AE7-D0AC9AEA915B}" srcOrd="1" destOrd="0" presId="urn:microsoft.com/office/officeart/2005/8/layout/list1"/>
    <dgm:cxn modelId="{B09A304F-858A-4CF0-BD8F-7FCD8E264D2B}" type="presParOf" srcId="{9751DB5F-6552-47F7-8A84-663ACDCAAE0C}" destId="{345B062C-A042-462E-A397-1E42BB566431}" srcOrd="1" destOrd="0" presId="urn:microsoft.com/office/officeart/2005/8/layout/list1"/>
    <dgm:cxn modelId="{C20A9997-2841-47C8-8A59-1C8560A62C4F}" type="presParOf" srcId="{9751DB5F-6552-47F7-8A84-663ACDCAAE0C}" destId="{A5977876-D3CF-414E-87EA-5415696E518B}" srcOrd="2" destOrd="0" presId="urn:microsoft.com/office/officeart/2005/8/layout/list1"/>
    <dgm:cxn modelId="{F280FDEB-C195-4F66-A921-FFB1FD5443F4}" type="presParOf" srcId="{9751DB5F-6552-47F7-8A84-663ACDCAAE0C}" destId="{03A69E01-B156-4D0A-B2B7-9E9D88176BDC}" srcOrd="3" destOrd="0" presId="urn:microsoft.com/office/officeart/2005/8/layout/list1"/>
    <dgm:cxn modelId="{46C7B6E9-D11F-48D4-8E41-4B31FB2488F2}" type="presParOf" srcId="{9751DB5F-6552-47F7-8A84-663ACDCAAE0C}" destId="{08EFABE1-5CAF-4294-9CA2-25D3F56CCF92}" srcOrd="4" destOrd="0" presId="urn:microsoft.com/office/officeart/2005/8/layout/list1"/>
    <dgm:cxn modelId="{23DFC885-49D8-4C2E-82C6-C0C17C5FBF45}" type="presParOf" srcId="{08EFABE1-5CAF-4294-9CA2-25D3F56CCF92}" destId="{3B52622F-6703-4C02-A861-BF82AA433870}" srcOrd="0" destOrd="0" presId="urn:microsoft.com/office/officeart/2005/8/layout/list1"/>
    <dgm:cxn modelId="{379E71F4-39D9-42B4-8B68-EB949DE204A3}" type="presParOf" srcId="{08EFABE1-5CAF-4294-9CA2-25D3F56CCF92}" destId="{2881F533-99A5-4632-8DFE-6D7FC5C90A5F}" srcOrd="1" destOrd="0" presId="urn:microsoft.com/office/officeart/2005/8/layout/list1"/>
    <dgm:cxn modelId="{CDFCE7F5-5BDB-46B8-80F2-4DF99DE79389}" type="presParOf" srcId="{9751DB5F-6552-47F7-8A84-663ACDCAAE0C}" destId="{F5AA82AD-4D17-4501-8064-B0A6AB5D7EFC}" srcOrd="5" destOrd="0" presId="urn:microsoft.com/office/officeart/2005/8/layout/list1"/>
    <dgm:cxn modelId="{C6CBD333-6005-4A80-8CBF-35EA9648FD8F}" type="presParOf" srcId="{9751DB5F-6552-47F7-8A84-663ACDCAAE0C}" destId="{B8209303-595D-4BE2-8FAB-44FA920C7731}" srcOrd="6" destOrd="0" presId="urn:microsoft.com/office/officeart/2005/8/layout/list1"/>
    <dgm:cxn modelId="{195C8400-BE28-4E6C-ADFE-A37EA5463250}" type="presParOf" srcId="{9751DB5F-6552-47F7-8A84-663ACDCAAE0C}" destId="{8801D0EC-7512-4427-888A-61C730149967}" srcOrd="7" destOrd="0" presId="urn:microsoft.com/office/officeart/2005/8/layout/list1"/>
    <dgm:cxn modelId="{74F5B901-26FA-4380-8D38-3F41DBBD6BBB}" type="presParOf" srcId="{9751DB5F-6552-47F7-8A84-663ACDCAAE0C}" destId="{9287AD93-F340-4D76-9E63-7CADE462F35B}" srcOrd="8" destOrd="0" presId="urn:microsoft.com/office/officeart/2005/8/layout/list1"/>
    <dgm:cxn modelId="{FA809B37-5870-429B-ADA1-96A9A35F7A1C}" type="presParOf" srcId="{9287AD93-F340-4D76-9E63-7CADE462F35B}" destId="{A3A1737C-FBEB-4A0E-9D31-B63480F7687F}" srcOrd="0" destOrd="0" presId="urn:microsoft.com/office/officeart/2005/8/layout/list1"/>
    <dgm:cxn modelId="{979D350A-B293-4A41-BB5A-D0F3A2B6F219}" type="presParOf" srcId="{9287AD93-F340-4D76-9E63-7CADE462F35B}" destId="{35E5A067-FF48-456F-BD6E-C4B503EAFEC0}" srcOrd="1" destOrd="0" presId="urn:microsoft.com/office/officeart/2005/8/layout/list1"/>
    <dgm:cxn modelId="{3B499F3B-5B6D-4353-8828-0BDC73B2D7C1}" type="presParOf" srcId="{9751DB5F-6552-47F7-8A84-663ACDCAAE0C}" destId="{8EA00550-A8DE-4F7F-9432-91C2959895D5}" srcOrd="9" destOrd="0" presId="urn:microsoft.com/office/officeart/2005/8/layout/list1"/>
    <dgm:cxn modelId="{E0FE4515-1F55-4732-8171-A593AA1F7EA3}" type="presParOf" srcId="{9751DB5F-6552-47F7-8A84-663ACDCAAE0C}" destId="{FB872960-3313-4CCA-9E75-6B4D41A210E0}" srcOrd="10" destOrd="0" presId="urn:microsoft.com/office/officeart/2005/8/layout/list1"/>
    <dgm:cxn modelId="{0724BB26-D6A2-4AD3-8FCF-9F76D9042959}" type="presParOf" srcId="{9751DB5F-6552-47F7-8A84-663ACDCAAE0C}" destId="{F4475628-2597-4D90-ABEB-3663306572AD}" srcOrd="11" destOrd="0" presId="urn:microsoft.com/office/officeart/2005/8/layout/list1"/>
    <dgm:cxn modelId="{CD1CF45F-ABF2-4459-ABF1-AE247F3FCD79}" type="presParOf" srcId="{9751DB5F-6552-47F7-8A84-663ACDCAAE0C}" destId="{B8EC3A3D-3218-4A77-A84C-9F0834B10342}" srcOrd="12" destOrd="0" presId="urn:microsoft.com/office/officeart/2005/8/layout/list1"/>
    <dgm:cxn modelId="{20EF7706-24CF-49A8-B9F1-C1ED0107DE01}" type="presParOf" srcId="{B8EC3A3D-3218-4A77-A84C-9F0834B10342}" destId="{738F7F7E-3943-4DCD-809C-C8E35BBD68C8}" srcOrd="0" destOrd="0" presId="urn:microsoft.com/office/officeart/2005/8/layout/list1"/>
    <dgm:cxn modelId="{2D73EE58-6A29-4EF7-8A0B-50F816AA154D}" type="presParOf" srcId="{B8EC3A3D-3218-4A77-A84C-9F0834B10342}" destId="{20FCF8C9-61E5-4A06-BC17-C4B58591D86B}" srcOrd="1" destOrd="0" presId="urn:microsoft.com/office/officeart/2005/8/layout/list1"/>
    <dgm:cxn modelId="{F71F6A93-C24A-4215-AF0E-6295368FF0D3}" type="presParOf" srcId="{9751DB5F-6552-47F7-8A84-663ACDCAAE0C}" destId="{F31E7A59-AC3C-41D8-B786-2C5BB93027E7}" srcOrd="13" destOrd="0" presId="urn:microsoft.com/office/officeart/2005/8/layout/list1"/>
    <dgm:cxn modelId="{EFD86C62-8148-48BD-BEF8-083A1964C5D0}" type="presParOf" srcId="{9751DB5F-6552-47F7-8A84-663ACDCAAE0C}" destId="{12FE856A-FE30-42E7-91FE-6C52E08833E0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A71E7F-23B4-4C6B-90D3-8A009D709BFB}">
      <dsp:nvSpPr>
        <dsp:cNvPr id="0" name=""/>
        <dsp:cNvSpPr/>
      </dsp:nvSpPr>
      <dsp:spPr>
        <a:xfrm>
          <a:off x="0" y="3399"/>
          <a:ext cx="7886700" cy="724089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C293DF-6CFA-4EED-91B4-2FE5CB8DE64D}">
      <dsp:nvSpPr>
        <dsp:cNvPr id="0" name=""/>
        <dsp:cNvSpPr/>
      </dsp:nvSpPr>
      <dsp:spPr>
        <a:xfrm>
          <a:off x="219037" y="166319"/>
          <a:ext cx="398249" cy="39824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3103E2-C0B8-4B41-AD44-57ED4F027152}">
      <dsp:nvSpPr>
        <dsp:cNvPr id="0" name=""/>
        <dsp:cNvSpPr/>
      </dsp:nvSpPr>
      <dsp:spPr>
        <a:xfrm>
          <a:off x="836323" y="3399"/>
          <a:ext cx="7050376" cy="7240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33" tIns="76633" rIns="76633" bIns="76633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Background on RPA &amp; ML</a:t>
          </a:r>
        </a:p>
      </dsp:txBody>
      <dsp:txXfrm>
        <a:off x="836323" y="3399"/>
        <a:ext cx="7050376" cy="724089"/>
      </dsp:txXfrm>
    </dsp:sp>
    <dsp:sp modelId="{EE812406-B75F-4EEC-9831-7B63B73BDBF8}">
      <dsp:nvSpPr>
        <dsp:cNvPr id="0" name=""/>
        <dsp:cNvSpPr/>
      </dsp:nvSpPr>
      <dsp:spPr>
        <a:xfrm>
          <a:off x="0" y="908511"/>
          <a:ext cx="7886700" cy="724089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34CB42-CED8-407F-B1BA-09563B9C4A68}">
      <dsp:nvSpPr>
        <dsp:cNvPr id="0" name=""/>
        <dsp:cNvSpPr/>
      </dsp:nvSpPr>
      <dsp:spPr>
        <a:xfrm>
          <a:off x="219037" y="1071431"/>
          <a:ext cx="398249" cy="39824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5D0FAD-BACE-47DE-9F0C-8ABFD07B2C68}">
      <dsp:nvSpPr>
        <dsp:cNvPr id="0" name=""/>
        <dsp:cNvSpPr/>
      </dsp:nvSpPr>
      <dsp:spPr>
        <a:xfrm>
          <a:off x="836323" y="908511"/>
          <a:ext cx="7050376" cy="7240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33" tIns="76633" rIns="76633" bIns="76633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Workshop case introduction </a:t>
          </a:r>
        </a:p>
      </dsp:txBody>
      <dsp:txXfrm>
        <a:off x="836323" y="908511"/>
        <a:ext cx="7050376" cy="724089"/>
      </dsp:txXfrm>
    </dsp:sp>
    <dsp:sp modelId="{A82B846F-C98A-4E9A-86C3-A9694B991B0C}">
      <dsp:nvSpPr>
        <dsp:cNvPr id="0" name=""/>
        <dsp:cNvSpPr/>
      </dsp:nvSpPr>
      <dsp:spPr>
        <a:xfrm>
          <a:off x="0" y="1813624"/>
          <a:ext cx="7886700" cy="724089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EA32B1-BA2E-48CA-8064-F94E3959C5C2}">
      <dsp:nvSpPr>
        <dsp:cNvPr id="0" name=""/>
        <dsp:cNvSpPr/>
      </dsp:nvSpPr>
      <dsp:spPr>
        <a:xfrm>
          <a:off x="219037" y="1976544"/>
          <a:ext cx="398249" cy="39824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1EE13A-BA77-4FC0-9C18-8EFDBC0C0BFD}">
      <dsp:nvSpPr>
        <dsp:cNvPr id="0" name=""/>
        <dsp:cNvSpPr/>
      </dsp:nvSpPr>
      <dsp:spPr>
        <a:xfrm>
          <a:off x="836323" y="1813624"/>
          <a:ext cx="7050376" cy="7240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33" tIns="76633" rIns="76633" bIns="76633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Enterprise technology adoption maturity</a:t>
          </a:r>
        </a:p>
      </dsp:txBody>
      <dsp:txXfrm>
        <a:off x="836323" y="1813624"/>
        <a:ext cx="7050376" cy="724089"/>
      </dsp:txXfrm>
    </dsp:sp>
    <dsp:sp modelId="{C4A1624D-8D5F-4789-B9F0-4A61D0B11110}">
      <dsp:nvSpPr>
        <dsp:cNvPr id="0" name=""/>
        <dsp:cNvSpPr/>
      </dsp:nvSpPr>
      <dsp:spPr>
        <a:xfrm>
          <a:off x="0" y="2718736"/>
          <a:ext cx="7886700" cy="724089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C69E60-AAEC-407A-A2BE-89BE7EB966BE}">
      <dsp:nvSpPr>
        <dsp:cNvPr id="0" name=""/>
        <dsp:cNvSpPr/>
      </dsp:nvSpPr>
      <dsp:spPr>
        <a:xfrm>
          <a:off x="219037" y="2881656"/>
          <a:ext cx="398249" cy="39824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3C6D34-DF32-4DDC-823A-E267E0F0CB5B}">
      <dsp:nvSpPr>
        <dsp:cNvPr id="0" name=""/>
        <dsp:cNvSpPr/>
      </dsp:nvSpPr>
      <dsp:spPr>
        <a:xfrm>
          <a:off x="836323" y="2718736"/>
          <a:ext cx="7050376" cy="7240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33" tIns="76633" rIns="76633" bIns="76633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Pillars of design in 4.0 era</a:t>
          </a:r>
        </a:p>
      </dsp:txBody>
      <dsp:txXfrm>
        <a:off x="836323" y="2718736"/>
        <a:ext cx="7050376" cy="724089"/>
      </dsp:txXfrm>
    </dsp:sp>
    <dsp:sp modelId="{00C1DB7C-9BDD-4B40-BBC6-30F652183EA4}">
      <dsp:nvSpPr>
        <dsp:cNvPr id="0" name=""/>
        <dsp:cNvSpPr/>
      </dsp:nvSpPr>
      <dsp:spPr>
        <a:xfrm>
          <a:off x="0" y="3623848"/>
          <a:ext cx="7886700" cy="724089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A42EAB-6FE9-4336-AC12-8EA95257118D}">
      <dsp:nvSpPr>
        <dsp:cNvPr id="0" name=""/>
        <dsp:cNvSpPr/>
      </dsp:nvSpPr>
      <dsp:spPr>
        <a:xfrm>
          <a:off x="219037" y="3786768"/>
          <a:ext cx="398249" cy="398249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10D9FC-25C4-4CFA-B9EB-3B78A92A23C3}">
      <dsp:nvSpPr>
        <dsp:cNvPr id="0" name=""/>
        <dsp:cNvSpPr/>
      </dsp:nvSpPr>
      <dsp:spPr>
        <a:xfrm>
          <a:off x="836323" y="3623848"/>
          <a:ext cx="7050376" cy="7240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33" tIns="76633" rIns="76633" bIns="76633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Interactive live demo</a:t>
          </a:r>
        </a:p>
      </dsp:txBody>
      <dsp:txXfrm>
        <a:off x="836323" y="3623848"/>
        <a:ext cx="7050376" cy="7240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79256F-D27C-4CCA-9BC2-716F9A6C6A2F}">
      <dsp:nvSpPr>
        <dsp:cNvPr id="0" name=""/>
        <dsp:cNvSpPr/>
      </dsp:nvSpPr>
      <dsp:spPr>
        <a:xfrm>
          <a:off x="0" y="0"/>
          <a:ext cx="4869656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04796A-9A19-43DA-9F4F-78B92B01B0E4}">
      <dsp:nvSpPr>
        <dsp:cNvPr id="0" name=""/>
        <dsp:cNvSpPr/>
      </dsp:nvSpPr>
      <dsp:spPr>
        <a:xfrm>
          <a:off x="0" y="0"/>
          <a:ext cx="4869656" cy="12763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Large drug stores chain</a:t>
          </a:r>
        </a:p>
      </dsp:txBody>
      <dsp:txXfrm>
        <a:off x="0" y="0"/>
        <a:ext cx="4869656" cy="1276350"/>
      </dsp:txXfrm>
    </dsp:sp>
    <dsp:sp modelId="{32FC847C-F783-46DE-87EB-0827A22FBD21}">
      <dsp:nvSpPr>
        <dsp:cNvPr id="0" name=""/>
        <dsp:cNvSpPr/>
      </dsp:nvSpPr>
      <dsp:spPr>
        <a:xfrm>
          <a:off x="0" y="1276350"/>
          <a:ext cx="4869656" cy="0"/>
        </a:xfrm>
        <a:prstGeom prst="line">
          <a:avLst/>
        </a:prstGeom>
        <a:solidFill>
          <a:schemeClr val="accent2">
            <a:hueOff val="-485121"/>
            <a:satOff val="-27976"/>
            <a:lumOff val="2876"/>
            <a:alphaOff val="0"/>
          </a:schemeClr>
        </a:solidFill>
        <a:ln w="12700" cap="flat" cmpd="sng" algn="ctr">
          <a:solidFill>
            <a:schemeClr val="accent2">
              <a:hueOff val="-485121"/>
              <a:satOff val="-27976"/>
              <a:lumOff val="287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A0EC80-1466-440B-B963-7C85FAF6ECEE}">
      <dsp:nvSpPr>
        <dsp:cNvPr id="0" name=""/>
        <dsp:cNvSpPr/>
      </dsp:nvSpPr>
      <dsp:spPr>
        <a:xfrm>
          <a:off x="0" y="1276350"/>
          <a:ext cx="4869656" cy="12763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0" kern="1200" dirty="0"/>
            <a:t>Forecasting sales reports on a frequent basis</a:t>
          </a:r>
        </a:p>
      </dsp:txBody>
      <dsp:txXfrm>
        <a:off x="0" y="1276350"/>
        <a:ext cx="4869656" cy="1276350"/>
      </dsp:txXfrm>
    </dsp:sp>
    <dsp:sp modelId="{41023018-13C9-4E23-BC44-64026C5F10F1}">
      <dsp:nvSpPr>
        <dsp:cNvPr id="0" name=""/>
        <dsp:cNvSpPr/>
      </dsp:nvSpPr>
      <dsp:spPr>
        <a:xfrm>
          <a:off x="0" y="2552700"/>
          <a:ext cx="4869656" cy="0"/>
        </a:xfrm>
        <a:prstGeom prst="line">
          <a:avLst/>
        </a:prstGeom>
        <a:solidFill>
          <a:schemeClr val="accent2">
            <a:hueOff val="-970242"/>
            <a:satOff val="-55952"/>
            <a:lumOff val="5752"/>
            <a:alphaOff val="0"/>
          </a:schemeClr>
        </a:solidFill>
        <a:ln w="12700" cap="flat" cmpd="sng" algn="ctr">
          <a:solidFill>
            <a:schemeClr val="accent2">
              <a:hueOff val="-970242"/>
              <a:satOff val="-55952"/>
              <a:lumOff val="575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D34308-73D0-4AC8-886D-20DD9CC684CF}">
      <dsp:nvSpPr>
        <dsp:cNvPr id="0" name=""/>
        <dsp:cNvSpPr/>
      </dsp:nvSpPr>
      <dsp:spPr>
        <a:xfrm>
          <a:off x="0" y="2552700"/>
          <a:ext cx="4869656" cy="12763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RPA teams with strong IT infrastructure</a:t>
          </a:r>
        </a:p>
      </dsp:txBody>
      <dsp:txXfrm>
        <a:off x="0" y="2552700"/>
        <a:ext cx="4869656" cy="1276350"/>
      </dsp:txXfrm>
    </dsp:sp>
    <dsp:sp modelId="{3FDDA778-CC88-497F-910E-C4D80353592D}">
      <dsp:nvSpPr>
        <dsp:cNvPr id="0" name=""/>
        <dsp:cNvSpPr/>
      </dsp:nvSpPr>
      <dsp:spPr>
        <a:xfrm>
          <a:off x="0" y="3829050"/>
          <a:ext cx="4869656" cy="0"/>
        </a:xfrm>
        <a:prstGeom prst="line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1BA541-CE1E-45A6-B0C1-E7355E4E99AF}">
      <dsp:nvSpPr>
        <dsp:cNvPr id="0" name=""/>
        <dsp:cNvSpPr/>
      </dsp:nvSpPr>
      <dsp:spPr>
        <a:xfrm>
          <a:off x="0" y="3829050"/>
          <a:ext cx="4869656" cy="12763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Data analysts/scientists available </a:t>
          </a:r>
        </a:p>
      </dsp:txBody>
      <dsp:txXfrm>
        <a:off x="0" y="3829050"/>
        <a:ext cx="4869656" cy="127635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977876-D3CF-414E-87EA-5415696E518B}">
      <dsp:nvSpPr>
        <dsp:cNvPr id="0" name=""/>
        <dsp:cNvSpPr/>
      </dsp:nvSpPr>
      <dsp:spPr>
        <a:xfrm>
          <a:off x="0" y="296262"/>
          <a:ext cx="4885203" cy="151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9146" tIns="416560" rIns="379146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/>
            <a:t>Rossmann</a:t>
          </a:r>
          <a:r>
            <a:rPr lang="en-US" sz="2000" kern="1200" dirty="0"/>
            <a:t> Sales (Kaggle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imeline	: 2013 – 2015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No. Stores	: 1115 </a:t>
          </a:r>
        </a:p>
      </dsp:txBody>
      <dsp:txXfrm>
        <a:off x="0" y="296262"/>
        <a:ext cx="4885203" cy="1512000"/>
      </dsp:txXfrm>
    </dsp:sp>
    <dsp:sp modelId="{B9209E49-B651-4451-8AE7-D0AC9AEA915B}">
      <dsp:nvSpPr>
        <dsp:cNvPr id="0" name=""/>
        <dsp:cNvSpPr/>
      </dsp:nvSpPr>
      <dsp:spPr>
        <a:xfrm>
          <a:off x="244260" y="1062"/>
          <a:ext cx="3419642" cy="5904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254" tIns="0" rIns="129254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atasets</a:t>
          </a:r>
        </a:p>
      </dsp:txBody>
      <dsp:txXfrm>
        <a:off x="273081" y="29883"/>
        <a:ext cx="3362000" cy="532758"/>
      </dsp:txXfrm>
    </dsp:sp>
    <dsp:sp modelId="{B8209303-595D-4BE2-8FAB-44FA920C7731}">
      <dsp:nvSpPr>
        <dsp:cNvPr id="0" name=""/>
        <dsp:cNvSpPr/>
      </dsp:nvSpPr>
      <dsp:spPr>
        <a:xfrm>
          <a:off x="0" y="2211462"/>
          <a:ext cx="4885203" cy="850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2252848"/>
              <a:satOff val="-5806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9146" tIns="416560" rIns="379146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/>
            <a:t>UiPath</a:t>
          </a:r>
          <a:r>
            <a:rPr lang="en-US" sz="2000" kern="1200" dirty="0"/>
            <a:t> (no Orchestrator)</a:t>
          </a:r>
        </a:p>
      </dsp:txBody>
      <dsp:txXfrm>
        <a:off x="0" y="2211462"/>
        <a:ext cx="4885203" cy="850500"/>
      </dsp:txXfrm>
    </dsp:sp>
    <dsp:sp modelId="{2881F533-99A5-4632-8DFE-6D7FC5C90A5F}">
      <dsp:nvSpPr>
        <dsp:cNvPr id="0" name=""/>
        <dsp:cNvSpPr/>
      </dsp:nvSpPr>
      <dsp:spPr>
        <a:xfrm>
          <a:off x="244260" y="1916262"/>
          <a:ext cx="3419642" cy="590400"/>
        </a:xfrm>
        <a:prstGeom prst="roundRect">
          <a:avLst/>
        </a:prstGeom>
        <a:solidFill>
          <a:schemeClr val="accent5">
            <a:hueOff val="-2252848"/>
            <a:satOff val="-5806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254" tIns="0" rIns="129254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PA		</a:t>
          </a:r>
        </a:p>
      </dsp:txBody>
      <dsp:txXfrm>
        <a:off x="273081" y="1945083"/>
        <a:ext cx="3362000" cy="532758"/>
      </dsp:txXfrm>
    </dsp:sp>
    <dsp:sp modelId="{FB872960-3313-4CCA-9E75-6B4D41A210E0}">
      <dsp:nvSpPr>
        <dsp:cNvPr id="0" name=""/>
        <dsp:cNvSpPr/>
      </dsp:nvSpPr>
      <dsp:spPr>
        <a:xfrm>
          <a:off x="0" y="3465162"/>
          <a:ext cx="4885203" cy="1165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4505695"/>
              <a:satOff val="-11613"/>
              <a:lumOff val="-784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9146" tIns="416560" rIns="379146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R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 err="1"/>
            <a:t>Rshiny</a:t>
          </a:r>
          <a:r>
            <a:rPr lang="en-US" sz="2000" kern="1200" dirty="0"/>
            <a:t> | QlikView</a:t>
          </a:r>
        </a:p>
      </dsp:txBody>
      <dsp:txXfrm>
        <a:off x="0" y="3465162"/>
        <a:ext cx="4885203" cy="1165500"/>
      </dsp:txXfrm>
    </dsp:sp>
    <dsp:sp modelId="{35E5A067-FF48-456F-BD6E-C4B503EAFEC0}">
      <dsp:nvSpPr>
        <dsp:cNvPr id="0" name=""/>
        <dsp:cNvSpPr/>
      </dsp:nvSpPr>
      <dsp:spPr>
        <a:xfrm>
          <a:off x="244260" y="3169962"/>
          <a:ext cx="3419642" cy="590400"/>
        </a:xfrm>
        <a:prstGeom prst="roundRect">
          <a:avLst/>
        </a:prstGeom>
        <a:solidFill>
          <a:schemeClr val="accent5">
            <a:hueOff val="-4505695"/>
            <a:satOff val="-11613"/>
            <a:lumOff val="-78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254" tIns="0" rIns="129254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L Programming Language</a:t>
          </a:r>
        </a:p>
      </dsp:txBody>
      <dsp:txXfrm>
        <a:off x="273081" y="3198783"/>
        <a:ext cx="3362000" cy="532758"/>
      </dsp:txXfrm>
    </dsp:sp>
    <dsp:sp modelId="{12FE856A-FE30-42E7-91FE-6C52E08833E0}">
      <dsp:nvSpPr>
        <dsp:cNvPr id="0" name=""/>
        <dsp:cNvSpPr/>
      </dsp:nvSpPr>
      <dsp:spPr>
        <a:xfrm>
          <a:off x="0" y="5033863"/>
          <a:ext cx="4885203" cy="850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6758543"/>
              <a:satOff val="-17419"/>
              <a:lumOff val="-1176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9146" tIns="416560" rIns="379146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hlinkClick xmlns:r="http://schemas.openxmlformats.org/officeDocument/2006/relationships" r:id="rId1"/>
            </a:rPr>
            <a:t>rpa.ai.usecase@gmail.com</a:t>
          </a:r>
          <a:endParaRPr lang="en-US" sz="2000" kern="1200" dirty="0"/>
        </a:p>
      </dsp:txBody>
      <dsp:txXfrm>
        <a:off x="0" y="5033863"/>
        <a:ext cx="4885203" cy="850500"/>
      </dsp:txXfrm>
    </dsp:sp>
    <dsp:sp modelId="{20FCF8C9-61E5-4A06-BC17-C4B58591D86B}">
      <dsp:nvSpPr>
        <dsp:cNvPr id="0" name=""/>
        <dsp:cNvSpPr/>
      </dsp:nvSpPr>
      <dsp:spPr>
        <a:xfrm>
          <a:off x="244260" y="4738663"/>
          <a:ext cx="3419642" cy="590400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254" tIns="0" rIns="129254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ail engine</a:t>
          </a:r>
        </a:p>
      </dsp:txBody>
      <dsp:txXfrm>
        <a:off x="273081" y="4767484"/>
        <a:ext cx="3362000" cy="5327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AC6C8EF-CB49-4275-A13C-7D23B20735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1B4A547-0428-4174-91C1-87DB18F6E73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843078-645D-4158-A787-42F60CFF6D2A}" type="datetimeFigureOut">
              <a:rPr lang="de-DE" smtClean="0"/>
              <a:t>11.05.2019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FA28B1-58A3-494A-988B-FE2E422DB4B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FFFF7B2-3409-4144-B289-9DD989617FA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7C3DBE-79DB-4D91-9218-7EE4FE49732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49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8C9149-D577-4BEA-B1BD-B83C0A214C96}" type="datetimeFigureOut">
              <a:rPr lang="de-DE" smtClean="0"/>
              <a:t>11.05.2019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B541B9-BEAE-4A4B-BF38-CFC2DC10270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69643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42FA70A-7E86-4462-85A4-C02161B27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7BA2D83-AF4A-43B4-9400-FB6358387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90931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353D4D-D29D-4176-BEC7-B5FB1F321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061B8FD-E05A-46BC-AE39-765507CE504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C39DE193-4B90-4FFA-A246-FDB82B87AB51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online imag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7E9F9E-5C2B-465F-A5F4-CD10003C6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03CD38-3C7D-41F5-9F8C-2A11EEBDE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3580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4106C-A282-46C9-A16E-8066E32C56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F4BD89D-510A-4B48-851B-601D8A4EB6E4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online image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D91E4E9-C932-4EDF-BB8C-6E8A1FEFCE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8243F0-F141-4EB7-BBF0-5D0BB5E870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DC6F47-3462-47CB-BA39-42EC44E3F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2356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A19B-57FD-42BD-B718-26320517F9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B18A02-913D-4E52-8BE8-61B3EAEFD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3AF338-0A80-4480-A453-F93B3B626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4273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FFD0014-9070-4B16-91A5-3534FCC6C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060EDD-654B-4801-AEB4-6F424BEDF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3471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4E5825-3D1E-4971-84F9-1687577B8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755384-4CFD-4EF7-9FF9-28F31A748A02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9FE5187-A533-4B45-9685-459F0A9148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AC641EE-ECF5-4C92-9F2D-09F29644C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CB207BC-F190-479E-948B-7623494A9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12879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0CEE61-72AD-4968-99B9-3E57A2A80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17DC5F-5F40-4473-AFCA-F35E999931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70CFCCA-4F37-41E7-BF23-91090B5119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FAECC06-27C5-436D-86A0-9D81498EF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58DEF57-BAF0-4FF2-B1AA-9963D76CA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7770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43D9A43-0894-4214-901D-C4982567758C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44" y="431800"/>
            <a:ext cx="8704834" cy="54403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01A43AF-6AB5-4A6C-A1FA-B80256F07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789842-5B5F-49D8-9FC0-BD791DF12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20199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3186F4-1D83-49B6-91FB-FA7B527A3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1989E0-2B51-44AF-9E84-B174540C44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44" y="1965579"/>
            <a:ext cx="8704834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2D771-22E7-4015-8FA6-15AABC40C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B90424-E455-42E5-9247-25BA6B24C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9819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2426EB-DD78-4744-A55B-50ECA0122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3D7E0CA-A3BC-4CEE-B5CB-977ACE3D91F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2A790A0E-7A8E-4886-A712-C369CBB3ACEC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media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F9C9653-EA45-4A95-A4A8-692686BE8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94C41A-8878-469B-8429-D1B9CF725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65162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29CDF4-F79A-4FA4-892E-C481E6579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B9D062A-01EF-43B3-92B8-5FE1E018C2BC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media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F5C3313-2D67-4AC3-994E-62C3C51BEE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437F093-8D53-47E1-BFDC-171132F82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50F8CF-E1E3-41F1-9890-847BB8914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0308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3B78A6F6-A242-4613-8C13-AC5087069364}"/>
              </a:ext>
            </a:extLst>
          </p:cNvPr>
          <p:cNvSpPr/>
          <p:nvPr userDrawn="1"/>
        </p:nvSpPr>
        <p:spPr>
          <a:xfrm>
            <a:off x="-14180" y="889419"/>
            <a:ext cx="5610540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>
              <a:solidFill>
                <a:schemeClr val="l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D8C5364-2C31-4377-8A9F-C5D26DC4A45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28078" y="1321467"/>
            <a:ext cx="4905856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orem Ipsum </a:t>
            </a:r>
            <a:r>
              <a:rPr lang="en-US" dirty="0" err="1"/>
              <a:t>dolormit</a:t>
            </a:r>
            <a:r>
              <a:rPr lang="en-US" dirty="0"/>
              <a:t>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avensis</a:t>
            </a:r>
            <a:r>
              <a:rPr lang="en-US" dirty="0"/>
              <a:t> </a:t>
            </a:r>
            <a:r>
              <a:rPr lang="en-US" dirty="0" err="1"/>
              <a:t>tusa</a:t>
            </a:r>
            <a:r>
              <a:rPr lang="en-US" dirty="0"/>
              <a:t>.</a:t>
            </a:r>
            <a:endParaRPr lang="de-DE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AE80F776-06EE-43FE-96B3-370FBD612C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3822" y="3949759"/>
            <a:ext cx="4905856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accent1"/>
                </a:solidFill>
              </a:defRPr>
            </a:lvl1pPr>
            <a:lvl2pPr marL="342946" indent="0">
              <a:buNone/>
              <a:defRPr/>
            </a:lvl2pPr>
            <a:lvl3pPr marL="685891" indent="0">
              <a:buNone/>
              <a:defRPr/>
            </a:lvl3pPr>
            <a:lvl4pPr marL="1028837" indent="0">
              <a:buNone/>
              <a:defRPr/>
            </a:lvl4pPr>
            <a:lvl5pPr marL="1371783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2E534C34-012C-4769-AB96-B6B0CF89D5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019" y="6553431"/>
            <a:ext cx="2523530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675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6738813-21EA-41B8-9066-14C2B73CC8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5167" y="6546042"/>
            <a:ext cx="288200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675" b="1">
                <a:solidFill>
                  <a:schemeClr val="tx1"/>
                </a:solidFill>
              </a:defRPr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9851135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25B59A-DCAD-4306-89CB-A06E95ABB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0CF5EA-C295-4A30-88F2-2245BC54D3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4" y="1965579"/>
            <a:ext cx="8704834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9A4D89B-B9C4-4E50-94DC-00AC7239C9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44" y="3994785"/>
            <a:ext cx="8704834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AE5215F-68BA-4F0D-8406-3468CBF53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69CB124-7799-4F42-AF98-F551F4826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68345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7B62E1-536C-401E-90B3-DA3F7833BE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29B07A-9152-4184-A86D-8706C7F1C78A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8704834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A4618AC-E9EF-41C5-BD73-E1FD23C882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44" y="3994785"/>
            <a:ext cx="8704834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AD65D8B-5E74-4450-A0D6-2B35EFF9D7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5C3C06A-D5BE-484B-A77F-8B1D2511D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0326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4B2CCD-3DFB-4176-875D-2C19DB92A6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2D533D-CB35-47D0-87A6-380C326C5EBA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19356AE-21E0-4F51-8C70-D4CF9EA6080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640961" y="1965579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0453203-896C-4B3A-9CC4-C63C684EAEA6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4640961" y="3994785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CCA23C-E99B-43F1-B1BB-B2AB60ACF3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7796CDA-73FB-4786-BF05-F02A7E3A00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834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1AA673-D8A8-4209-85A5-DBE5E8194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84A27F-87D6-410D-81CD-14B27073462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4" y="1965579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1ECB867-6A88-4AE7-A925-B0A6B5DB9910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44" y="3994785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E07E6EC-E42A-4AC4-8EF2-9237B8459B89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A0D49A9-E503-42B5-B3EE-A82FA4E11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CF7B50C-67F4-4364-ABC0-3900B26954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69580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74FD18-BA48-482B-85AD-AC685846A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20C93EA-3F5B-4B64-9D5B-97DC3CD85B07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4" y="1965579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84E4239-6625-4D37-831F-4E85F08EFA29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640961" y="1965579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0E2A125-3955-4FA4-A43F-1067DA1A2854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43" y="3994785"/>
            <a:ext cx="8704834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BBBF891-7BF3-4F42-8CA2-FA63A8F9E0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AD6A123-865C-4327-B301-9647A04F1C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619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9771CA-6ABE-4F83-B5E0-A4B258420A50}"/>
              </a:ext>
            </a:extLst>
          </p:cNvPr>
          <p:cNvSpPr>
            <a:spLocks noGrp="1"/>
          </p:cNvSpPr>
          <p:nvPr>
            <p:ph type="title" sz="quarter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A66DF7-4CD4-4DB2-A83C-D1975B849897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4" y="1965579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EFB02C0-DE24-4954-8EDE-70B4FDB7DADF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640961" y="1965579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67995F7-3E09-47DD-ABFB-2D3B07E4010C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44" y="3994785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60304B9-6210-46CB-94E6-48592B8F1EC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0961" y="3994785"/>
            <a:ext cx="427621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E669443-47D0-42ED-9E1C-1A9BBDBA7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3AFED2A-5F22-4BB9-BD91-2802F5FF5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78883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6B7B1E6-6D80-4C65-86AD-548C049CCF01}"/>
              </a:ext>
            </a:extLst>
          </p:cNvPr>
          <p:cNvGrpSpPr/>
          <p:nvPr/>
        </p:nvGrpSpPr>
        <p:grpSpPr>
          <a:xfrm>
            <a:off x="1588" y="0"/>
            <a:ext cx="9140825" cy="6858000"/>
            <a:chOff x="1588" y="0"/>
            <a:chExt cx="9140825" cy="6858000"/>
          </a:xfrm>
        </p:grpSpPr>
        <p:pic>
          <p:nvPicPr>
            <p:cNvPr id="3" name="Picture 5" descr="C:\Documents and Settings\ROESSO\My Documents\Ablage\Corporate Design\PowerPoint\Logos Wizard\BASFc_Q_PPT_38_blau-dunkel.tif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9439"/>
            <a:stretch>
              <a:fillRect/>
            </a:stretch>
          </p:blipFill>
          <p:spPr bwMode="auto">
            <a:xfrm>
              <a:off x="1588" y="0"/>
              <a:ext cx="9140825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FB27401A-DD7A-42A9-9C7D-5DB5B37394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52880" y="2597868"/>
              <a:ext cx="4625717" cy="16759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79891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9FFF1-98EA-4ECC-84EA-C6AF24030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844750-3E61-4137-B043-9EC4DA1679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1DE673-12AE-4A87-8FE5-619E2E282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4FA04C-D7CF-4861-95F0-3F5ACF508755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2A2F12-0563-43FF-B833-D7B2EDF2C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5B19E-C00C-4190-9A62-F32A09785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0057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5ED3C9-3E18-4C9C-AAF9-CE66851D4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DBC0E-15D4-4660-858C-A91F6248DD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822F9F-FFBF-4A89-9CA4-37452E0689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BC42F-EA91-460E-9436-9A6C9B1CB0C6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15E4D5-2EA6-4CBC-A574-5ACE31E4A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3589AC-49A3-45FC-9316-7377561F4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9098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0B59EC-E77E-4CFE-829A-5EA2A85003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2BA000-57CC-4657-8451-9734DA845D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415F0E-4C56-4201-A0F8-E413FBA32F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D4350-0632-4F67-B357-AFC21C62564D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71E408-7B56-42EC-BBB5-D52B9FC27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8D5F02-F11B-458D-98E4-6F142B67E7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7264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D70F5B-B110-4659-8D06-547F7C17F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B162140-77FC-430A-84DC-5407E10A7DE1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05E682-771B-4B8D-98CF-20CE88C1CB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F33D2B-32A4-4B06-A381-D009DB9D2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38955E4-7A21-4472-AD71-6C33A6658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2418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F931C4-7180-4735-B08A-39418D299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F13DDB-7B30-4D1A-94BF-95140978F0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50CC02-293D-4D37-88CD-2B69942953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4C366F-BB5E-4314-B1F1-B724F46E4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F31A35-803D-44FA-BA88-E6B5FB347587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A45FCE-E2B6-48C2-AC7D-60FAD0E78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4E2D3E-A983-48E1-8A1B-3B1A41745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8884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BDB973-1412-4CE9-A9E1-2A69E531F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DBA7F-BBA9-437B-8CC9-95FE0D750A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2BFBD6-26D7-4AE8-ABED-FD60FBDDDA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05C99A-64EE-4B5D-A247-D750F734A3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8C15F4D-A0E0-4941-A80C-72BFCE69FC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424ADC-E90D-423B-87EE-E3D6F024C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56CED-B3EE-49D9-9922-CBB48E543356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3A5B3F-C5C7-4D05-8181-7B4AB236EC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EE91F7-0E1D-425A-AD4F-FAA6D90B5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4187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1EAD7-336F-4A47-9130-356735C23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9DC74D5-64E8-45C8-8C5F-D18871FBBD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237B0-CC05-45CB-9D8E-44851499E325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68A2DA-FD0F-403A-9198-18186941BD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4D2BFD-B458-40D0-8AE6-029A88507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2451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8B5B32-20CE-4440-8CE2-03A46F89C7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41777-83B6-4CFA-89A1-52400FB2059F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D694B2-7950-4713-B96A-791A551ED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3EFC81-F5EF-49A4-9489-0C3E6E928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5902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B4BBD-37B7-46DA-81DC-E76CB3AFA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EA310B-A398-4C1B-BBDD-8C401115D8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BA99A0-611C-4AB7-8C77-0B5912CAA5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E734D6-F96C-4066-942E-1DA852EAA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6AA2A1-C9A8-42DC-AF5F-29D58FE3A81E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9F8E20-D678-445F-BD01-ACB4F5919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A4DA69-184E-4756-AC48-CB3BD5E40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6139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CA9CC7-BCB8-4322-B568-849026C961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9DB5A9-E978-4D1B-A0EF-1A9F2388E3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7F69CD-8309-4693-8C9E-E341E21EAD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B5E592-CEE5-4202-94D1-0A577337E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C28B6-2144-4760-B3DF-18C646FA52B1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D9736-BE47-49D8-81BB-E09325B197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64AA12-C785-4EFA-92E3-D4E97837F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1199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7577CB-3BD5-415D-89F6-FF186D822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2CDCA6C-E7B6-47BA-B4E1-396C053E78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2BF552-A84D-45FE-B9CA-3B1EEF760A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5B24B-F41A-4540-8EEC-C29B4F79802D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06811E-6C75-4664-90EC-5F4567C091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B7FD1-DDAB-4D29-9965-4F35A2305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8208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D3A60F6-5009-4F5E-8051-2A76FF2276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1AE210-8541-4C61-B07B-30FAC9C549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0B4673-F740-4FBA-BD4B-BB6FCC151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BF989E-5397-49EE-B0F5-E72D9FFD7EC0}" type="datetimeFigureOut">
              <a:rPr lang="en-US" smtClean="0"/>
              <a:t>5/11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92546A-1761-4B05-9FE4-834ADE43B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22D33C-90DB-43A8-8A48-274F8D6C4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7091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45C3AD-DE4A-4ABD-8AE0-2F8BE0F22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2B3667-EC6D-4030-BA9D-AE93DB4C65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44" y="1965579"/>
            <a:ext cx="8704834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88E8FF-16C8-42E1-BA4E-D04FF210A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689147-28CB-4400-894D-C9AAD8D66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48410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42FA70A-7E86-4462-85A4-C02161B27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7BA2D83-AF4A-43B4-9400-FB6358387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0718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45C3AD-DE4A-4ABD-8AE0-2F8BE0F22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F2B3667-EC6D-4030-BA9D-AE93DB4C65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44" y="1965579"/>
            <a:ext cx="8704834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88E8FF-16C8-42E1-BA4E-D04FF210A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D689147-28CB-4400-894D-C9AAD8D66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43637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D70F5B-B110-4659-8D06-547F7C17F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B162140-77FC-430A-84DC-5407E10A7DE1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05E682-771B-4B8D-98CF-20CE88C1CB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2F33D2B-32A4-4B06-A381-D009DB9D2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38955E4-7A21-4472-AD71-6C33A6658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8454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DD78AD-4E38-4417-832B-3882724D9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74371A18-275D-4DC9-848E-6A23D035D75A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44" y="1965579"/>
            <a:ext cx="8704834" cy="3906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tabl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DA318F-2425-4D1E-AA22-0C6EF8B67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38D566-5659-476F-A4D0-F7B722B2B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85887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E9F0EB-058C-4B78-BECE-5E8F805C20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DBF30AF-88E3-49AF-92F7-9EE4906E75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A074E57C-D409-46CB-B446-D6678D93A49A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7841168-1C19-47BF-962B-34CC734F4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C0443FC-EF0E-49A6-89EC-1B8D3AD33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5417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EC0F9-5B0C-4710-A140-E039D679F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791FA5F-FFD5-48F6-A26F-B94372A368D8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44" y="1965579"/>
            <a:ext cx="4276217" cy="3906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A085698-0808-4820-971B-9BFAE3ADC2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640961" y="1965579"/>
            <a:ext cx="427621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0DAE19D-0652-4D4C-90CD-3F00A4045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5DB9894-8F19-4169-87A8-811A50355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73879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5A5377-259A-49D3-A76F-4726CB5FA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DDE06530-B955-4F69-B078-EA8C642C824C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44" y="1965579"/>
            <a:ext cx="8704834" cy="3906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SmartArt graphic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BD6B3C-903A-4865-842B-82B6B35B4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E36514C-1C79-4D09-891D-4A728275E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2914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C5A86F-E56F-4125-9C3B-B354D1352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07F0FC2C-F86E-49AD-9740-7BF86D066E7F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44" y="1965579"/>
            <a:ext cx="8704834" cy="39060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945BFE-E7BF-4546-859A-F663A99A6A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019" y="6522331"/>
            <a:ext cx="5040000" cy="167933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FDFBE5B-6C5D-42AA-BD84-359F8959B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2003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6">
            <a:extLst>
              <a:ext uri="{FF2B5EF4-FFF2-40B4-BE49-F238E27FC236}">
                <a16:creationId xmlns:a16="http://schemas.microsoft.com/office/drawing/2014/main" id="{FB48B54B-289E-4960-A08B-8233F4E915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1019" y="6522331"/>
            <a:ext cx="2523530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675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|</a:t>
            </a:r>
          </a:p>
        </p:txBody>
      </p:sp>
      <p:sp>
        <p:nvSpPr>
          <p:cNvPr id="5" name="Foliennummernplatzhalter 7">
            <a:extLst>
              <a:ext uri="{FF2B5EF4-FFF2-40B4-BE49-F238E27FC236}">
                <a16:creationId xmlns:a16="http://schemas.microsoft.com/office/drawing/2014/main" id="{FAE23543-114D-4353-9692-EDD4B25A4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5167" y="6514942"/>
            <a:ext cx="288200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675" b="1"/>
            </a:lvl1pPr>
          </a:lstStyle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9D944444-7AFD-44EE-8A25-77E0D85B6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0DF390-67AF-494D-876B-BC57264D54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9170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6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">
          <p15:clr>
            <a:srgbClr val="F26B43"/>
          </p15:clr>
        </p15:guide>
        <p15:guide id="2" pos="136">
          <p15:clr>
            <a:srgbClr val="F26B43"/>
          </p15:clr>
        </p15:guide>
        <p15:guide id="3" pos="5624">
          <p15:clr>
            <a:srgbClr val="F26B43"/>
          </p15:clr>
        </p15:guide>
        <p15:guide id="5" orient="horz" pos="41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30DF2564-4DFA-485C-B2BF-1D3760A3874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5471" y="6228712"/>
            <a:ext cx="606293" cy="292882"/>
          </a:xfrm>
          <a:prstGeom prst="rect">
            <a:avLst/>
          </a:prstGeom>
        </p:spPr>
      </p:pic>
      <p:sp>
        <p:nvSpPr>
          <p:cNvPr id="17" name="Foliennummernplatzhalter 7">
            <a:extLst>
              <a:ext uri="{FF2B5EF4-FFF2-40B4-BE49-F238E27FC236}">
                <a16:creationId xmlns:a16="http://schemas.microsoft.com/office/drawing/2014/main" id="{A1322806-357F-4278-A274-6D3BB9FEB2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5167" y="6514942"/>
            <a:ext cx="288200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675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9156D2A9-1A3A-4D30-8C52-025DB2CED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559800"/>
            <a:ext cx="8704800" cy="85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9D46A8-777B-4A98-9085-7A12A73CE1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400" y="1965600"/>
            <a:ext cx="8704800" cy="390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102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40">
          <p15:clr>
            <a:srgbClr val="F26B43"/>
          </p15:clr>
        </p15:guide>
        <p15:guide id="2" orient="horz" pos="4176">
          <p15:clr>
            <a:srgbClr val="F26B43"/>
          </p15:clr>
        </p15:guide>
        <p15:guide id="3" pos="136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orient="horz" pos="136">
          <p15:clr>
            <a:srgbClr val="F26B43"/>
          </p15:clr>
        </p15:guide>
        <p15:guide id="6" pos="5624">
          <p15:clr>
            <a:srgbClr val="F26B43"/>
          </p15:clr>
        </p15:guide>
        <p15:guide id="7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30780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269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Times New Roman" pitchFamily="18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Times New Roman" pitchFamily="18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Times New Roman" pitchFamily="18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Times New Roman" pitchFamily="18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Times New Roman" pitchFamily="18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Times New Roman" pitchFamily="18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Times New Roman" pitchFamily="18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Times New Roman" pitchFamily="18" charset="0"/>
        </a:defRPr>
      </a:lvl9pPr>
    </p:titleStyle>
    <p:bodyStyle>
      <a:lvl1pPr marL="328613" indent="-328613" algn="l" rtl="0" eaLnBrk="1" fontAlgn="base" hangingPunct="1">
        <a:lnSpc>
          <a:spcPct val="95000"/>
        </a:lnSpc>
        <a:spcBef>
          <a:spcPct val="0"/>
        </a:spcBef>
        <a:spcAft>
          <a:spcPct val="25000"/>
        </a:spcAft>
        <a:buClr>
          <a:schemeClr val="tx2"/>
        </a:buClr>
        <a:buFont typeface="Wingdings" pitchFamily="2" charset="2"/>
        <a:buChar char="n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04850" indent="-374650" algn="l" rtl="0" eaLnBrk="1" fontAlgn="base" hangingPunct="1">
        <a:lnSpc>
          <a:spcPct val="95000"/>
        </a:lnSpc>
        <a:spcBef>
          <a:spcPct val="0"/>
        </a:spcBef>
        <a:spcAft>
          <a:spcPct val="25000"/>
        </a:spcAft>
        <a:buClr>
          <a:schemeClr val="tx2"/>
        </a:buClr>
        <a:buFont typeface="Wingdings" pitchFamily="2" charset="2"/>
        <a:buChar char="è"/>
        <a:defRPr sz="2200">
          <a:solidFill>
            <a:schemeClr val="tx1"/>
          </a:solidFill>
          <a:latin typeface="+mn-lt"/>
          <a:cs typeface="+mn-cs"/>
        </a:defRPr>
      </a:lvl2pPr>
      <a:lvl3pPr marL="1004888" indent="-298450" algn="l" rtl="0" eaLnBrk="1" fontAlgn="base" hangingPunct="1">
        <a:lnSpc>
          <a:spcPct val="95000"/>
        </a:lnSpc>
        <a:spcBef>
          <a:spcPct val="0"/>
        </a:spcBef>
        <a:spcAft>
          <a:spcPct val="25000"/>
        </a:spcAft>
        <a:buClr>
          <a:schemeClr val="tx2"/>
        </a:buClr>
        <a:buFont typeface="Wingdings" pitchFamily="2" charset="2"/>
        <a:buChar char="l"/>
        <a:defRPr sz="2200">
          <a:solidFill>
            <a:schemeClr val="tx1"/>
          </a:solidFill>
          <a:latin typeface="+mn-lt"/>
          <a:cs typeface="+mn-cs"/>
        </a:defRPr>
      </a:lvl3pPr>
      <a:lvl4pPr marL="1281113" indent="-274638" algn="l" rtl="0" eaLnBrk="1" fontAlgn="base" hangingPunct="1">
        <a:lnSpc>
          <a:spcPct val="95000"/>
        </a:lnSpc>
        <a:spcBef>
          <a:spcPct val="0"/>
        </a:spcBef>
        <a:spcAft>
          <a:spcPct val="25000"/>
        </a:spcAft>
        <a:buChar char="–"/>
        <a:defRPr sz="2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lnSpc>
          <a:spcPct val="95000"/>
        </a:lnSpc>
        <a:spcBef>
          <a:spcPct val="0"/>
        </a:spcBef>
        <a:spcAft>
          <a:spcPct val="2500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lnSpc>
          <a:spcPct val="95000"/>
        </a:lnSpc>
        <a:spcBef>
          <a:spcPct val="0"/>
        </a:spcBef>
        <a:spcAft>
          <a:spcPct val="2500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lnSpc>
          <a:spcPct val="95000"/>
        </a:lnSpc>
        <a:spcBef>
          <a:spcPct val="0"/>
        </a:spcBef>
        <a:spcAft>
          <a:spcPct val="2500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lnSpc>
          <a:spcPct val="95000"/>
        </a:lnSpc>
        <a:spcBef>
          <a:spcPct val="0"/>
        </a:spcBef>
        <a:spcAft>
          <a:spcPct val="2500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lnSpc>
          <a:spcPct val="95000"/>
        </a:lnSpc>
        <a:spcBef>
          <a:spcPct val="0"/>
        </a:spcBef>
        <a:spcAft>
          <a:spcPct val="2500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437912-04AF-4B72-8F5C-38CA5B14B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4DB635-F86F-43C0-B99C-2A02B26CA6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D2FBE3-08FF-4143-870C-78E689AEE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571D07-A00E-4CE5-A995-A54750C50D38}" type="datetimeFigureOut">
              <a:rPr lang="de-DE" smtClean="0"/>
              <a:t>11.05.2019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A8DFB2-DC9E-4B7C-B258-C34E166652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|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90CF5B-2AF3-4B7D-B0F5-0D93CB2BED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C1925-C66A-4962-BB88-7DBB83E4A1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41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4" r:id="rId12"/>
    <p:sldLayoutId id="2147483795" r:id="rId13"/>
    <p:sldLayoutId id="2147483796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0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jp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40.svg"/><Relationship Id="rId18" Type="http://schemas.openxmlformats.org/officeDocument/2006/relationships/image" Target="../media/image57.png"/><Relationship Id="rId3" Type="http://schemas.openxmlformats.org/officeDocument/2006/relationships/image" Target="../media/image24.svg"/><Relationship Id="rId21" Type="http://schemas.openxmlformats.org/officeDocument/2006/relationships/image" Target="../media/image60.svg"/><Relationship Id="rId7" Type="http://schemas.openxmlformats.org/officeDocument/2006/relationships/image" Target="../media/image28.svg"/><Relationship Id="rId12" Type="http://schemas.openxmlformats.org/officeDocument/2006/relationships/image" Target="../media/image39.png"/><Relationship Id="rId17" Type="http://schemas.openxmlformats.org/officeDocument/2006/relationships/image" Target="../media/image56.svg"/><Relationship Id="rId2" Type="http://schemas.openxmlformats.org/officeDocument/2006/relationships/image" Target="../media/image23.png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7.png"/><Relationship Id="rId11" Type="http://schemas.openxmlformats.org/officeDocument/2006/relationships/image" Target="../media/image38.svg"/><Relationship Id="rId5" Type="http://schemas.openxmlformats.org/officeDocument/2006/relationships/image" Target="../media/image26.svg"/><Relationship Id="rId15" Type="http://schemas.openxmlformats.org/officeDocument/2006/relationships/image" Target="../media/image54.svg"/><Relationship Id="rId23" Type="http://schemas.openxmlformats.org/officeDocument/2006/relationships/image" Target="../media/image62.svg"/><Relationship Id="rId10" Type="http://schemas.openxmlformats.org/officeDocument/2006/relationships/image" Target="../media/image37.png"/><Relationship Id="rId19" Type="http://schemas.openxmlformats.org/officeDocument/2006/relationships/image" Target="../media/image58.svg"/><Relationship Id="rId4" Type="http://schemas.openxmlformats.org/officeDocument/2006/relationships/image" Target="../media/image25.png"/><Relationship Id="rId9" Type="http://schemas.openxmlformats.org/officeDocument/2006/relationships/image" Target="../media/image34.svg"/><Relationship Id="rId14" Type="http://schemas.openxmlformats.org/officeDocument/2006/relationships/image" Target="../media/image53.png"/><Relationship Id="rId22" Type="http://schemas.openxmlformats.org/officeDocument/2006/relationships/image" Target="../media/image6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559AE206-7EBA-4D33-8BC9-9D8158553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F4C1825-862D-4F47-B331-D46A50C948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8650" y="4555055"/>
            <a:ext cx="5174047" cy="1723125"/>
          </a:xfrm>
        </p:spPr>
        <p:txBody>
          <a:bodyPr anchor="ctr">
            <a:noAutofit/>
          </a:bodyPr>
          <a:lstStyle/>
          <a:p>
            <a:pPr algn="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Next level RPA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Modularized ML with post go-live RPA finance process</a:t>
            </a: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5DB59A0-4FF5-401F-911E-9C2142BB7F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56968" y="4555055"/>
            <a:ext cx="2537450" cy="1723125"/>
          </a:xfrm>
        </p:spPr>
        <p:txBody>
          <a:bodyPr anchor="ctr">
            <a:normAutofit/>
          </a:bodyPr>
          <a:lstStyle/>
          <a:p>
            <a:pPr algn="l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Trung Nguyen</a:t>
            </a:r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437D937-A7F1-4011-92B4-328E5BE1B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1425" y="1322610"/>
            <a:ext cx="1682850" cy="168284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672F332-AF08-46C6-94F0-77684310D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546253" y="2707205"/>
            <a:ext cx="721796" cy="7217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4244EF8-D73A-40E1-BE73-D46E6B4B04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44374" y="2603243"/>
            <a:ext cx="220271" cy="220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AB84D7E8-4ECB-42D7-ADBF-01689B0F24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29087" y="0"/>
            <a:ext cx="4814914" cy="3429000"/>
          </a:xfrm>
          <a:custGeom>
            <a:avLst/>
            <a:gdLst>
              <a:gd name="connsiteX0" fmla="*/ 0 w 5699887"/>
              <a:gd name="connsiteY0" fmla="*/ 0 h 4059244"/>
              <a:gd name="connsiteX1" fmla="*/ 5699887 w 5699887"/>
              <a:gd name="connsiteY1" fmla="*/ 0 h 4059244"/>
              <a:gd name="connsiteX2" fmla="*/ 5699887 w 5699887"/>
              <a:gd name="connsiteY2" fmla="*/ 3944096 h 4059244"/>
              <a:gd name="connsiteX3" fmla="*/ 5525775 w 5699887"/>
              <a:gd name="connsiteY3" fmla="*/ 3980429 h 4059244"/>
              <a:gd name="connsiteX4" fmla="*/ 4663256 w 5699887"/>
              <a:gd name="connsiteY4" fmla="*/ 4059244 h 4059244"/>
              <a:gd name="connsiteX5" fmla="*/ 8566 w 5699887"/>
              <a:gd name="connsiteY5" fmla="*/ 67422 h 405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9887" h="4059244">
                <a:moveTo>
                  <a:pt x="0" y="0"/>
                </a:moveTo>
                <a:lnTo>
                  <a:pt x="5699887" y="0"/>
                </a:lnTo>
                <a:lnTo>
                  <a:pt x="5699887" y="3944096"/>
                </a:lnTo>
                <a:lnTo>
                  <a:pt x="5525775" y="3980429"/>
                </a:lnTo>
                <a:cubicBezTo>
                  <a:pt x="5246154" y="4032190"/>
                  <a:pt x="4957865" y="4059244"/>
                  <a:pt x="4663256" y="4059244"/>
                </a:cubicBezTo>
                <a:cubicBezTo>
                  <a:pt x="2306390" y="4059244"/>
                  <a:pt x="353936" y="2327747"/>
                  <a:pt x="8566" y="67422"/>
                </a:cubicBez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E8E38ED-369A-44C2-B635-0BED0E48A6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979834" y="4776880"/>
            <a:ext cx="0" cy="1303020"/>
          </a:xfrm>
          <a:prstGeom prst="line">
            <a:avLst/>
          </a:prstGeom>
          <a:ln w="1905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2580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7D90878-0BB0-43C6-9F18-E6AC43EE9610}"/>
              </a:ext>
            </a:extLst>
          </p:cNvPr>
          <p:cNvSpPr/>
          <p:nvPr/>
        </p:nvSpPr>
        <p:spPr>
          <a:xfrm>
            <a:off x="5776080" y="2926565"/>
            <a:ext cx="1156982" cy="127470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B6A0B27-0AB5-46EA-9FCA-89751E01238E}"/>
              </a:ext>
            </a:extLst>
          </p:cNvPr>
          <p:cNvSpPr/>
          <p:nvPr/>
        </p:nvSpPr>
        <p:spPr>
          <a:xfrm>
            <a:off x="2578323" y="290802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EF1611-2EB4-4A5E-8597-9E3BB0487B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9583" y="720449"/>
            <a:ext cx="8704834" cy="310128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ales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orecasting report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 multiple departments on a weekly ba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C16B-1F34-48AA-AD5B-AC06AE992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Download from cloud">
            <a:extLst>
              <a:ext uri="{FF2B5EF4-FFF2-40B4-BE49-F238E27FC236}">
                <a16:creationId xmlns:a16="http://schemas.microsoft.com/office/drawing/2014/main" id="{B02F548C-9584-439C-A370-70B8655451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12" y="1368811"/>
            <a:ext cx="914400" cy="914400"/>
          </a:xfrm>
          <a:prstGeom prst="rect">
            <a:avLst/>
          </a:prstGeom>
        </p:spPr>
      </p:pic>
      <p:pic>
        <p:nvPicPr>
          <p:cNvPr id="11" name="Graphic 10" descr="Email">
            <a:extLst>
              <a:ext uri="{FF2B5EF4-FFF2-40B4-BE49-F238E27FC236}">
                <a16:creationId xmlns:a16="http://schemas.microsoft.com/office/drawing/2014/main" id="{E6DD9E50-5E90-4660-AB58-3C184622D8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442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5F2310A-C5B7-4EA7-A895-5353CD6CC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0508" y="43801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30591D-9C40-4CA0-9802-6E750B51C2A2}"/>
              </a:ext>
            </a:extLst>
          </p:cNvPr>
          <p:cNvSpPr txBox="1"/>
          <p:nvPr/>
        </p:nvSpPr>
        <p:spPr>
          <a:xfrm>
            <a:off x="104613" y="2283211"/>
            <a:ext cx="148117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-house databa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3574-6144-46F0-9011-0657A3B2916C}"/>
              </a:ext>
            </a:extLst>
          </p:cNvPr>
          <p:cNvSpPr txBox="1"/>
          <p:nvPr/>
        </p:nvSpPr>
        <p:spPr>
          <a:xfrm>
            <a:off x="1596" y="3882823"/>
            <a:ext cx="153877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15A73-DA5F-4454-8699-B27D3FFEF3F1}"/>
              </a:ext>
            </a:extLst>
          </p:cNvPr>
          <p:cNvSpPr txBox="1"/>
          <p:nvPr/>
        </p:nvSpPr>
        <p:spPr>
          <a:xfrm>
            <a:off x="204691" y="5482434"/>
            <a:ext cx="113492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istorical data</a:t>
            </a:r>
          </a:p>
        </p:txBody>
      </p:sp>
      <p:pic>
        <p:nvPicPr>
          <p:cNvPr id="18" name="Graphic 17" descr="Head with Gears">
            <a:extLst>
              <a:ext uri="{FF2B5EF4-FFF2-40B4-BE49-F238E27FC236}">
                <a16:creationId xmlns:a16="http://schemas.microsoft.com/office/drawing/2014/main" id="{7A0F385F-FEC1-4077-85F1-660B2CDB2F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26940" y="3270705"/>
            <a:ext cx="914400" cy="914400"/>
          </a:xfrm>
          <a:prstGeom prst="rect">
            <a:avLst/>
          </a:prstGeom>
        </p:spPr>
      </p:pic>
      <p:pic>
        <p:nvPicPr>
          <p:cNvPr id="20" name="Graphic 19" descr="Upward trend">
            <a:extLst>
              <a:ext uri="{FF2B5EF4-FFF2-40B4-BE49-F238E27FC236}">
                <a16:creationId xmlns:a16="http://schemas.microsoft.com/office/drawing/2014/main" id="{AF0E4935-B717-4621-8BA3-45F340F860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67940" y="2356305"/>
            <a:ext cx="914400" cy="914400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7B806A9-969C-41E1-870B-BE779072C311}"/>
              </a:ext>
            </a:extLst>
          </p:cNvPr>
          <p:cNvCxnSpPr>
            <a:cxnSpLocks/>
          </p:cNvCxnSpPr>
          <p:nvPr/>
        </p:nvCxnSpPr>
        <p:spPr>
          <a:xfrm>
            <a:off x="1347683" y="1897150"/>
            <a:ext cx="1116819" cy="10820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23A434-4AF7-44D3-A576-9D10A2B08E81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1235842" y="3928826"/>
            <a:ext cx="1214871" cy="10324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0D8AAD-25CF-47FD-ABDB-FF0EE349FB05}"/>
              </a:ext>
            </a:extLst>
          </p:cNvPr>
          <p:cNvCxnSpPr>
            <a:cxnSpLocks/>
          </p:cNvCxnSpPr>
          <p:nvPr/>
        </p:nvCxnSpPr>
        <p:spPr>
          <a:xfrm>
            <a:off x="1347683" y="3365228"/>
            <a:ext cx="110303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59C6EEB-0F34-4463-AF47-A6BC5F959F07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499580" y="3365228"/>
            <a:ext cx="65332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E4F625-9AE6-4D67-9D7D-0CFC252B22FA}"/>
              </a:ext>
            </a:extLst>
          </p:cNvPr>
          <p:cNvSpPr txBox="1"/>
          <p:nvPr/>
        </p:nvSpPr>
        <p:spPr>
          <a:xfrm>
            <a:off x="4367212" y="4285610"/>
            <a:ext cx="74539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enerate</a:t>
            </a:r>
            <a:b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orecasts</a:t>
            </a:r>
          </a:p>
        </p:txBody>
      </p:sp>
      <p:pic>
        <p:nvPicPr>
          <p:cNvPr id="54" name="Graphic 53" descr="Team">
            <a:extLst>
              <a:ext uri="{FF2B5EF4-FFF2-40B4-BE49-F238E27FC236}">
                <a16:creationId xmlns:a16="http://schemas.microsoft.com/office/drawing/2014/main" id="{8220B898-FCDF-4672-8DE6-316CDDFA8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80508" y="1390327"/>
            <a:ext cx="914400" cy="914400"/>
          </a:xfrm>
          <a:prstGeom prst="rect">
            <a:avLst/>
          </a:prstGeom>
        </p:spPr>
      </p:pic>
      <p:pic>
        <p:nvPicPr>
          <p:cNvPr id="58" name="Graphic 57" descr="Hourglass">
            <a:extLst>
              <a:ext uri="{FF2B5EF4-FFF2-40B4-BE49-F238E27FC236}">
                <a16:creationId xmlns:a16="http://schemas.microsoft.com/office/drawing/2014/main" id="{23B8A642-68F0-447D-89C4-8AA86D318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1442" y="4504107"/>
            <a:ext cx="914400" cy="914400"/>
          </a:xfrm>
          <a:prstGeom prst="rect">
            <a:avLst/>
          </a:prstGeom>
        </p:spPr>
      </p:pic>
      <p:pic>
        <p:nvPicPr>
          <p:cNvPr id="60" name="Graphic 59" descr="Meeting">
            <a:extLst>
              <a:ext uri="{FF2B5EF4-FFF2-40B4-BE49-F238E27FC236}">
                <a16:creationId xmlns:a16="http://schemas.microsoft.com/office/drawing/2014/main" id="{911BC9BD-00D6-4838-BDFB-0CF774B33D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600511" y="2926565"/>
            <a:ext cx="914400" cy="914400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A0B14F30-403F-440F-A848-FE7037F97A3B}"/>
              </a:ext>
            </a:extLst>
          </p:cNvPr>
          <p:cNvSpPr txBox="1"/>
          <p:nvPr/>
        </p:nvSpPr>
        <p:spPr>
          <a:xfrm>
            <a:off x="7223415" y="2350323"/>
            <a:ext cx="162858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lient’s departmen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18EF25-5748-4334-9074-0C15BB7548EB}"/>
              </a:ext>
            </a:extLst>
          </p:cNvPr>
          <p:cNvSpPr txBox="1"/>
          <p:nvPr/>
        </p:nvSpPr>
        <p:spPr>
          <a:xfrm>
            <a:off x="7421319" y="3799964"/>
            <a:ext cx="127278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oard memb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AEAF1C-5171-4018-8506-2E210463E114}"/>
              </a:ext>
            </a:extLst>
          </p:cNvPr>
          <p:cNvSpPr txBox="1"/>
          <p:nvPr/>
        </p:nvSpPr>
        <p:spPr>
          <a:xfrm>
            <a:off x="7490624" y="5313316"/>
            <a:ext cx="10948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I Dashboar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0E0FB5-7EA0-4FB2-AAA5-D15CCFAA2434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727971" y="1847527"/>
            <a:ext cx="852537" cy="1535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D54A626-1A40-456E-88C0-9453FB30453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6727971" y="3383765"/>
            <a:ext cx="8725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B720B32-032D-4E43-AD78-E6D6052C291F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727971" y="3383519"/>
            <a:ext cx="852537" cy="14538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BCBFA8A-D707-4085-8947-13833D69B565}"/>
              </a:ext>
            </a:extLst>
          </p:cNvPr>
          <p:cNvSpPr txBox="1"/>
          <p:nvPr/>
        </p:nvSpPr>
        <p:spPr>
          <a:xfrm>
            <a:off x="2452378" y="3871213"/>
            <a:ext cx="1303242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ata warehouse</a:t>
            </a:r>
          </a:p>
        </p:txBody>
      </p:sp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5585A1DA-01AC-4C34-A8F3-D9D58C31E20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85180" y="2908028"/>
            <a:ext cx="914400" cy="914400"/>
          </a:xfrm>
          <a:prstGeom prst="rect">
            <a:avLst/>
          </a:prstGeom>
        </p:spPr>
      </p:pic>
      <p:pic>
        <p:nvPicPr>
          <p:cNvPr id="3076" name="Picture 4" descr="Image result for document clipart">
            <a:extLst>
              <a:ext uri="{FF2B5EF4-FFF2-40B4-BE49-F238E27FC236}">
                <a16:creationId xmlns:a16="http://schemas.microsoft.com/office/drawing/2014/main" id="{6217B0FD-54CC-4453-8378-BAEC6B8A6B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080" y="2907536"/>
            <a:ext cx="948081" cy="94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7A3EB67-3A3D-47E7-8364-9634A227CDBD}"/>
              </a:ext>
            </a:extLst>
          </p:cNvPr>
          <p:cNvSpPr txBox="1"/>
          <p:nvPr/>
        </p:nvSpPr>
        <p:spPr>
          <a:xfrm>
            <a:off x="5731036" y="3876098"/>
            <a:ext cx="114294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reate report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AA89B6B-9FDA-487F-A8B7-576518AA6D68}"/>
              </a:ext>
            </a:extLst>
          </p:cNvPr>
          <p:cNvCxnSpPr>
            <a:cxnSpLocks/>
          </p:cNvCxnSpPr>
          <p:nvPr/>
        </p:nvCxnSpPr>
        <p:spPr>
          <a:xfrm>
            <a:off x="5182340" y="3395708"/>
            <a:ext cx="5937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2100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23962611-DFD5-4092-AAFD-559E3DFCE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6616" y="0"/>
            <a:ext cx="8182719" cy="6858000"/>
          </a:xfrm>
          <a:prstGeom prst="rect">
            <a:avLst/>
          </a:prstGeom>
          <a:gradFill>
            <a:gsLst>
              <a:gs pos="0">
                <a:srgbClr val="00B0F0">
                  <a:lumMod val="90000"/>
                </a:srgbClr>
              </a:gs>
              <a:gs pos="25000">
                <a:srgbClr val="00B0F0">
                  <a:lumMod val="90000"/>
                </a:srgb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2270F1FA-0425-408F-9861-80BF5AFB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39031-7BF7-4508-9C99-A8C5FFDF6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19447" y="6223702"/>
            <a:ext cx="428046" cy="31406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82EA1D04-CA53-4DE3-84A8-2B63E41036C9}" type="slidenum">
              <a:rPr lang="en-US" smtClean="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spcAft>
                  <a:spcPts val="600"/>
                </a:spcAft>
              </a:pPr>
              <a:t>11</a:t>
            </a:fld>
            <a:endParaRPr lang="en-US">
              <a:solidFill>
                <a:srgbClr val="8989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DA1946-E559-4514-8779-1DCB565FC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4026" y="2043663"/>
            <a:ext cx="4578895" cy="2031055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ctr" defTabSz="914400"/>
            <a:r>
              <a:rPr lang="en-US" sz="4700" kern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technology adoption maturity</a:t>
            </a:r>
          </a:p>
        </p:txBody>
      </p:sp>
    </p:spTree>
    <p:extLst>
      <p:ext uri="{BB962C8B-B14F-4D97-AF65-F5344CB8AC3E}">
        <p14:creationId xmlns:p14="http://schemas.microsoft.com/office/powerpoint/2010/main" val="7698618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7FEE014-EAC5-4551-A049-555E725AF8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1155269"/>
              </p:ext>
            </p:extLst>
          </p:nvPr>
        </p:nvGraphicFramePr>
        <p:xfrm>
          <a:off x="1182854" y="264088"/>
          <a:ext cx="6962836" cy="56799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81418">
                  <a:extLst>
                    <a:ext uri="{9D8B030D-6E8A-4147-A177-3AD203B41FA5}">
                      <a16:colId xmlns:a16="http://schemas.microsoft.com/office/drawing/2014/main" val="2588115019"/>
                    </a:ext>
                  </a:extLst>
                </a:gridCol>
                <a:gridCol w="3481418">
                  <a:extLst>
                    <a:ext uri="{9D8B030D-6E8A-4147-A177-3AD203B41FA5}">
                      <a16:colId xmlns:a16="http://schemas.microsoft.com/office/drawing/2014/main" val="3826805757"/>
                    </a:ext>
                  </a:extLst>
                </a:gridCol>
              </a:tblGrid>
              <a:tr h="2839955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900" b="1" dirty="0"/>
                        <a:t>Evolve</a:t>
                      </a:r>
                      <a:r>
                        <a:rPr lang="de-DE" sz="1900" dirty="0"/>
                        <a:t> from analytics deparment (sales &amp; marketing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900" b="1" dirty="0"/>
                        <a:t>Support</a:t>
                      </a:r>
                      <a:r>
                        <a:rPr lang="de-DE" sz="1900" dirty="0"/>
                        <a:t> high-level decision making process across company</a:t>
                      </a:r>
                    </a:p>
                  </a:txBody>
                  <a:tcPr marL="126978" marR="126978" marT="63490" marB="634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900" b="1" dirty="0"/>
                        <a:t>Gold standard </a:t>
                      </a:r>
                      <a:r>
                        <a:rPr lang="de-DE" sz="1900" dirty="0"/>
                        <a:t>for enterpris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900" dirty="0"/>
                        <a:t>Strong linkage between RPA &amp; ML </a:t>
                      </a:r>
                      <a:r>
                        <a:rPr lang="de-DE" sz="1900" dirty="0">
                          <a:sym typeface="Wingdings" panose="05000000000000000000" pitchFamily="2" charset="2"/>
                        </a:rPr>
                        <a:t> </a:t>
                      </a:r>
                      <a:r>
                        <a:rPr lang="de-DE" sz="1900" b="1" dirty="0">
                          <a:sym typeface="Wingdings" panose="05000000000000000000" pitchFamily="2" charset="2"/>
                        </a:rPr>
                        <a:t>Ecosystem</a:t>
                      </a:r>
                      <a:endParaRPr lang="de-DE" sz="1900" b="1" dirty="0"/>
                    </a:p>
                  </a:txBody>
                  <a:tcPr marL="126978" marR="126978" marT="63490" marB="63490"/>
                </a:tc>
                <a:extLst>
                  <a:ext uri="{0D108BD9-81ED-4DB2-BD59-A6C34878D82A}">
                    <a16:rowId xmlns:a16="http://schemas.microsoft.com/office/drawing/2014/main" val="1081101243"/>
                  </a:ext>
                </a:extLst>
              </a:tr>
              <a:tr h="2839955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900" dirty="0"/>
                        <a:t>Still </a:t>
                      </a:r>
                      <a:r>
                        <a:rPr lang="de-DE" sz="1900" b="1" dirty="0"/>
                        <a:t>skeptical</a:t>
                      </a:r>
                      <a:r>
                        <a:rPr lang="de-DE" sz="1900" dirty="0"/>
                        <a:t> about the 2 technologi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900" dirty="0"/>
                        <a:t>Might not have </a:t>
                      </a:r>
                      <a:r>
                        <a:rPr lang="de-DE" sz="1900" b="1" dirty="0"/>
                        <a:t>needs</a:t>
                      </a:r>
                      <a:r>
                        <a:rPr lang="de-DE" sz="1900" dirty="0"/>
                        <a:t> at the current moment</a:t>
                      </a:r>
                    </a:p>
                  </a:txBody>
                  <a:tcPr marL="126978" marR="126978" marT="63490" marB="63490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900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900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9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Catch </a:t>
                      </a:r>
                      <a:r>
                        <a:rPr lang="en-US" sz="1900" b="1" dirty="0">
                          <a:solidFill>
                            <a:schemeClr val="tx1"/>
                          </a:solidFill>
                        </a:rPr>
                        <a:t>“low-hanging fruits” </a:t>
                      </a:r>
                      <a:r>
                        <a:rPr lang="en-US" sz="1900" dirty="0"/>
                        <a:t>with RPA in short-mid ter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900" b="1" dirty="0"/>
                        <a:t>Conservative</a:t>
                      </a:r>
                      <a:r>
                        <a:rPr lang="en-US" sz="1900" dirty="0"/>
                        <a:t> and </a:t>
                      </a:r>
                      <a:r>
                        <a:rPr lang="en-US" sz="1900" b="1" dirty="0"/>
                        <a:t>safe</a:t>
                      </a:r>
                    </a:p>
                    <a:p>
                      <a:pPr marL="285750" marR="0" lvl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dirty="0"/>
                        <a:t>Most likely the route for “digitalization”</a:t>
                      </a:r>
                    </a:p>
                  </a:txBody>
                  <a:tcPr marL="126978" marR="126978" marT="63490" marB="63490"/>
                </a:tc>
                <a:extLst>
                  <a:ext uri="{0D108BD9-81ED-4DB2-BD59-A6C34878D82A}">
                    <a16:rowId xmlns:a16="http://schemas.microsoft.com/office/drawing/2014/main" val="1976716589"/>
                  </a:ext>
                </a:extLst>
              </a:tr>
            </a:tbl>
          </a:graphicData>
        </a:graphic>
      </p:graphicFrame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E7AEE70-2A82-4476-B9EA-5317FD2B8158}"/>
              </a:ext>
            </a:extLst>
          </p:cNvPr>
          <p:cNvCxnSpPr>
            <a:cxnSpLocks/>
          </p:cNvCxnSpPr>
          <p:nvPr/>
        </p:nvCxnSpPr>
        <p:spPr>
          <a:xfrm flipV="1">
            <a:off x="907409" y="264088"/>
            <a:ext cx="0" cy="589483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94F0FC5-60DB-4CA8-A0F3-67A67449FFFD}"/>
              </a:ext>
            </a:extLst>
          </p:cNvPr>
          <p:cNvCxnSpPr>
            <a:cxnSpLocks/>
          </p:cNvCxnSpPr>
          <p:nvPr/>
        </p:nvCxnSpPr>
        <p:spPr>
          <a:xfrm>
            <a:off x="907409" y="6158917"/>
            <a:ext cx="723828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D0EDA81-EE70-45FD-8237-7BCE1BD2B51F}"/>
              </a:ext>
            </a:extLst>
          </p:cNvPr>
          <p:cNvSpPr txBox="1"/>
          <p:nvPr/>
        </p:nvSpPr>
        <p:spPr>
          <a:xfrm rot="16200000">
            <a:off x="-103274" y="3195335"/>
            <a:ext cx="13086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L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pabilities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12A28A-024B-4645-AAAD-280B77446E17}"/>
              </a:ext>
            </a:extLst>
          </p:cNvPr>
          <p:cNvSpPr txBox="1"/>
          <p:nvPr/>
        </p:nvSpPr>
        <p:spPr>
          <a:xfrm>
            <a:off x="3566898" y="6158917"/>
            <a:ext cx="12397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PA maturity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BE19189-7D6B-4625-91C0-7D6253A731D9}"/>
              </a:ext>
            </a:extLst>
          </p:cNvPr>
          <p:cNvSpPr txBox="1"/>
          <p:nvPr/>
        </p:nvSpPr>
        <p:spPr>
          <a:xfrm>
            <a:off x="288913" y="6297416"/>
            <a:ext cx="5684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ow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5807BA1-44F8-4D12-A82D-C4ECECD990BF}"/>
              </a:ext>
            </a:extLst>
          </p:cNvPr>
          <p:cNvSpPr txBox="1"/>
          <p:nvPr/>
        </p:nvSpPr>
        <p:spPr>
          <a:xfrm>
            <a:off x="227902" y="264088"/>
            <a:ext cx="6126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igh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E28EB2A-30E2-43D2-9993-6CDE8D9B1AB5}"/>
              </a:ext>
            </a:extLst>
          </p:cNvPr>
          <p:cNvSpPr txBox="1"/>
          <p:nvPr/>
        </p:nvSpPr>
        <p:spPr>
          <a:xfrm>
            <a:off x="7533022" y="6297416"/>
            <a:ext cx="6126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igh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3A50CCE-F0E5-48AA-8035-B367BA628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fld id="{82EA1D04-CA53-4DE3-84A8-2B63E41036C9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27371FD-30DF-46A3-A881-D20A46C222A9}"/>
              </a:ext>
            </a:extLst>
          </p:cNvPr>
          <p:cNvSpPr/>
          <p:nvPr/>
        </p:nvSpPr>
        <p:spPr>
          <a:xfrm>
            <a:off x="1976997" y="369114"/>
            <a:ext cx="2032942" cy="721455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igh ML </a:t>
            </a: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ow RPA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6BB0657-648B-4249-A385-77F4F2DCE05D}"/>
              </a:ext>
            </a:extLst>
          </p:cNvPr>
          <p:cNvSpPr/>
          <p:nvPr/>
        </p:nvSpPr>
        <p:spPr>
          <a:xfrm>
            <a:off x="5441479" y="3211504"/>
            <a:ext cx="2032942" cy="721455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igh RPA </a:t>
            </a: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ow ML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56686F5-3DA9-48A2-A098-1C04B676CDEF}"/>
              </a:ext>
            </a:extLst>
          </p:cNvPr>
          <p:cNvSpPr/>
          <p:nvPr/>
        </p:nvSpPr>
        <p:spPr>
          <a:xfrm>
            <a:off x="5441479" y="369114"/>
            <a:ext cx="2032942" cy="721455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igh ML </a:t>
            </a: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igh RPA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AE7546E-48F0-4854-81B4-74A5BCEB19DF}"/>
              </a:ext>
            </a:extLst>
          </p:cNvPr>
          <p:cNvSpPr/>
          <p:nvPr/>
        </p:nvSpPr>
        <p:spPr>
          <a:xfrm>
            <a:off x="1976997" y="3211504"/>
            <a:ext cx="2032942" cy="721455"/>
          </a:xfrm>
          <a:prstGeom prst="round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ow RPA </a:t>
            </a: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ow ML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87E36CE-034D-4503-8732-CDCC54C820B3}"/>
              </a:ext>
            </a:extLst>
          </p:cNvPr>
          <p:cNvSpPr/>
          <p:nvPr/>
        </p:nvSpPr>
        <p:spPr>
          <a:xfrm>
            <a:off x="4664272" y="3104043"/>
            <a:ext cx="3481418" cy="2839955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5479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5" grpId="0" animBg="1"/>
      <p:bldP spid="16" grpId="0" animBg="1"/>
      <p:bldP spid="17" grpId="0" animBg="1"/>
      <p:bldP spid="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3962611-DFD5-4092-AAFD-559E3DFCE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6616" y="0"/>
            <a:ext cx="8182719" cy="6858000"/>
          </a:xfrm>
          <a:prstGeom prst="rect">
            <a:avLst/>
          </a:prstGeom>
          <a:gradFill>
            <a:gsLst>
              <a:gs pos="0">
                <a:srgbClr val="E3411B">
                  <a:lumMod val="90000"/>
                </a:srgbClr>
              </a:gs>
              <a:gs pos="25000">
                <a:srgbClr val="E3411B">
                  <a:lumMod val="90000"/>
                </a:srgb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270F1FA-0425-408F-9861-80BF5AFB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5DBBB59-E157-43D6-AA71-DECF94430C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84026" y="2043663"/>
            <a:ext cx="4578895" cy="203105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 in 4.0 era</a:t>
            </a:r>
            <a:endParaRPr lang="de-DE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005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7D90878-0BB0-43C6-9F18-E6AC43EE9610}"/>
              </a:ext>
            </a:extLst>
          </p:cNvPr>
          <p:cNvSpPr/>
          <p:nvPr/>
        </p:nvSpPr>
        <p:spPr>
          <a:xfrm>
            <a:off x="5776080" y="2926565"/>
            <a:ext cx="1156982" cy="127470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B6A0B27-0AB5-46EA-9FCA-89751E01238E}"/>
              </a:ext>
            </a:extLst>
          </p:cNvPr>
          <p:cNvSpPr/>
          <p:nvPr/>
        </p:nvSpPr>
        <p:spPr>
          <a:xfrm>
            <a:off x="2578323" y="290802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EF1611-2EB4-4A5E-8597-9E3BB0487B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9583" y="720449"/>
            <a:ext cx="8704834" cy="310128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Revenue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forecasting reports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or multiple departments on a weekly ba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C16B-1F34-48AA-AD5B-AC06AE992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Download from cloud">
            <a:extLst>
              <a:ext uri="{FF2B5EF4-FFF2-40B4-BE49-F238E27FC236}">
                <a16:creationId xmlns:a16="http://schemas.microsoft.com/office/drawing/2014/main" id="{B02F548C-9584-439C-A370-70B8655451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12" y="1368811"/>
            <a:ext cx="914400" cy="914400"/>
          </a:xfrm>
          <a:prstGeom prst="rect">
            <a:avLst/>
          </a:prstGeom>
        </p:spPr>
      </p:pic>
      <p:pic>
        <p:nvPicPr>
          <p:cNvPr id="11" name="Graphic 10" descr="Email">
            <a:extLst>
              <a:ext uri="{FF2B5EF4-FFF2-40B4-BE49-F238E27FC236}">
                <a16:creationId xmlns:a16="http://schemas.microsoft.com/office/drawing/2014/main" id="{E6DD9E50-5E90-4660-AB58-3C184622D8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442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5F2310A-C5B7-4EA7-A895-5353CD6CC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0508" y="43801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30591D-9C40-4CA0-9802-6E750B51C2A2}"/>
              </a:ext>
            </a:extLst>
          </p:cNvPr>
          <p:cNvSpPr txBox="1"/>
          <p:nvPr/>
        </p:nvSpPr>
        <p:spPr>
          <a:xfrm>
            <a:off x="104613" y="2283211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-house databa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3574-6144-46F0-9011-0657A3B2916C}"/>
              </a:ext>
            </a:extLst>
          </p:cNvPr>
          <p:cNvSpPr txBox="1"/>
          <p:nvPr/>
        </p:nvSpPr>
        <p:spPr>
          <a:xfrm>
            <a:off x="1596" y="3882823"/>
            <a:ext cx="15387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15A73-DA5F-4454-8699-B27D3FFEF3F1}"/>
              </a:ext>
            </a:extLst>
          </p:cNvPr>
          <p:cNvSpPr txBox="1"/>
          <p:nvPr/>
        </p:nvSpPr>
        <p:spPr>
          <a:xfrm>
            <a:off x="204691" y="5482434"/>
            <a:ext cx="9714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istorical data</a:t>
            </a:r>
          </a:p>
        </p:txBody>
      </p:sp>
      <p:pic>
        <p:nvPicPr>
          <p:cNvPr id="18" name="Graphic 17" descr="Head with Gears">
            <a:extLst>
              <a:ext uri="{FF2B5EF4-FFF2-40B4-BE49-F238E27FC236}">
                <a16:creationId xmlns:a16="http://schemas.microsoft.com/office/drawing/2014/main" id="{7A0F385F-FEC1-4077-85F1-660B2CDB2F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26940" y="3270705"/>
            <a:ext cx="914400" cy="914400"/>
          </a:xfrm>
          <a:prstGeom prst="rect">
            <a:avLst/>
          </a:prstGeom>
        </p:spPr>
      </p:pic>
      <p:pic>
        <p:nvPicPr>
          <p:cNvPr id="20" name="Graphic 19" descr="Upward trend">
            <a:extLst>
              <a:ext uri="{FF2B5EF4-FFF2-40B4-BE49-F238E27FC236}">
                <a16:creationId xmlns:a16="http://schemas.microsoft.com/office/drawing/2014/main" id="{AF0E4935-B717-4621-8BA3-45F340F860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67940" y="2356305"/>
            <a:ext cx="914400" cy="914400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7B806A9-969C-41E1-870B-BE779072C311}"/>
              </a:ext>
            </a:extLst>
          </p:cNvPr>
          <p:cNvCxnSpPr>
            <a:cxnSpLocks/>
          </p:cNvCxnSpPr>
          <p:nvPr/>
        </p:nvCxnSpPr>
        <p:spPr>
          <a:xfrm>
            <a:off x="1347683" y="1897150"/>
            <a:ext cx="1116819" cy="10820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23A434-4AF7-44D3-A576-9D10A2B08E81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1235842" y="3928826"/>
            <a:ext cx="1214871" cy="10324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0D8AAD-25CF-47FD-ABDB-FF0EE349FB05}"/>
              </a:ext>
            </a:extLst>
          </p:cNvPr>
          <p:cNvCxnSpPr>
            <a:cxnSpLocks/>
          </p:cNvCxnSpPr>
          <p:nvPr/>
        </p:nvCxnSpPr>
        <p:spPr>
          <a:xfrm>
            <a:off x="1347683" y="3365228"/>
            <a:ext cx="110303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59C6EEB-0F34-4463-AF47-A6BC5F959F07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499580" y="3365228"/>
            <a:ext cx="65332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E4F625-9AE6-4D67-9D7D-0CFC252B22FA}"/>
              </a:ext>
            </a:extLst>
          </p:cNvPr>
          <p:cNvSpPr txBox="1"/>
          <p:nvPr/>
        </p:nvSpPr>
        <p:spPr>
          <a:xfrm>
            <a:off x="4420111" y="4285610"/>
            <a:ext cx="63959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t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ecasts</a:t>
            </a:r>
          </a:p>
        </p:txBody>
      </p:sp>
      <p:pic>
        <p:nvPicPr>
          <p:cNvPr id="54" name="Graphic 53" descr="Team">
            <a:extLst>
              <a:ext uri="{FF2B5EF4-FFF2-40B4-BE49-F238E27FC236}">
                <a16:creationId xmlns:a16="http://schemas.microsoft.com/office/drawing/2014/main" id="{8220B898-FCDF-4672-8DE6-316CDDFA8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80508" y="1390327"/>
            <a:ext cx="914400" cy="914400"/>
          </a:xfrm>
          <a:prstGeom prst="rect">
            <a:avLst/>
          </a:prstGeom>
        </p:spPr>
      </p:pic>
      <p:pic>
        <p:nvPicPr>
          <p:cNvPr id="58" name="Graphic 57" descr="Hourglass">
            <a:extLst>
              <a:ext uri="{FF2B5EF4-FFF2-40B4-BE49-F238E27FC236}">
                <a16:creationId xmlns:a16="http://schemas.microsoft.com/office/drawing/2014/main" id="{23B8A642-68F0-447D-89C4-8AA86D318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1442" y="4504107"/>
            <a:ext cx="914400" cy="914400"/>
          </a:xfrm>
          <a:prstGeom prst="rect">
            <a:avLst/>
          </a:prstGeom>
        </p:spPr>
      </p:pic>
      <p:pic>
        <p:nvPicPr>
          <p:cNvPr id="60" name="Graphic 59" descr="Meeting">
            <a:extLst>
              <a:ext uri="{FF2B5EF4-FFF2-40B4-BE49-F238E27FC236}">
                <a16:creationId xmlns:a16="http://schemas.microsoft.com/office/drawing/2014/main" id="{911BC9BD-00D6-4838-BDFB-0CF774B33D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600511" y="2926565"/>
            <a:ext cx="914400" cy="914400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A0B14F30-403F-440F-A848-FE7037F97A3B}"/>
              </a:ext>
            </a:extLst>
          </p:cNvPr>
          <p:cNvSpPr txBox="1"/>
          <p:nvPr/>
        </p:nvSpPr>
        <p:spPr>
          <a:xfrm>
            <a:off x="7340177" y="2350323"/>
            <a:ext cx="139506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lient’s departmen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18EF25-5748-4334-9074-0C15BB7548EB}"/>
              </a:ext>
            </a:extLst>
          </p:cNvPr>
          <p:cNvSpPr txBox="1"/>
          <p:nvPr/>
        </p:nvSpPr>
        <p:spPr>
          <a:xfrm>
            <a:off x="7511888" y="3799964"/>
            <a:ext cx="10916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ard memb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AEAF1C-5171-4018-8506-2E210463E114}"/>
              </a:ext>
            </a:extLst>
          </p:cNvPr>
          <p:cNvSpPr txBox="1"/>
          <p:nvPr/>
        </p:nvSpPr>
        <p:spPr>
          <a:xfrm>
            <a:off x="7569171" y="5313316"/>
            <a:ext cx="937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I Dashboar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0E0FB5-7EA0-4FB2-AAA5-D15CCFAA2434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727971" y="1847527"/>
            <a:ext cx="852537" cy="1535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D54A626-1A40-456E-88C0-9453FB30453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6727971" y="3383765"/>
            <a:ext cx="8725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B720B32-032D-4E43-AD78-E6D6052C291F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727971" y="3383519"/>
            <a:ext cx="852537" cy="14538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BCBFA8A-D707-4085-8947-13833D69B565}"/>
              </a:ext>
            </a:extLst>
          </p:cNvPr>
          <p:cNvSpPr txBox="1"/>
          <p:nvPr/>
        </p:nvSpPr>
        <p:spPr>
          <a:xfrm>
            <a:off x="2546154" y="3871213"/>
            <a:ext cx="111569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ta warehouse</a:t>
            </a:r>
          </a:p>
        </p:txBody>
      </p:sp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5585A1DA-01AC-4C34-A8F3-D9D58C31E20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85180" y="2908028"/>
            <a:ext cx="914400" cy="914400"/>
          </a:xfrm>
          <a:prstGeom prst="rect">
            <a:avLst/>
          </a:prstGeom>
        </p:spPr>
      </p:pic>
      <p:pic>
        <p:nvPicPr>
          <p:cNvPr id="3076" name="Picture 4" descr="Image result for document clipart">
            <a:extLst>
              <a:ext uri="{FF2B5EF4-FFF2-40B4-BE49-F238E27FC236}">
                <a16:creationId xmlns:a16="http://schemas.microsoft.com/office/drawing/2014/main" id="{6217B0FD-54CC-4453-8378-BAEC6B8A6B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080" y="2907536"/>
            <a:ext cx="948081" cy="94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7A3EB67-3A3D-47E7-8364-9634A227CDBD}"/>
              </a:ext>
            </a:extLst>
          </p:cNvPr>
          <p:cNvSpPr txBox="1"/>
          <p:nvPr/>
        </p:nvSpPr>
        <p:spPr>
          <a:xfrm>
            <a:off x="5811988" y="3876098"/>
            <a:ext cx="9810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reate report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AA89B6B-9FDA-487F-A8B7-576518AA6D68}"/>
              </a:ext>
            </a:extLst>
          </p:cNvPr>
          <p:cNvCxnSpPr>
            <a:cxnSpLocks/>
          </p:cNvCxnSpPr>
          <p:nvPr/>
        </p:nvCxnSpPr>
        <p:spPr>
          <a:xfrm>
            <a:off x="5182340" y="3395708"/>
            <a:ext cx="5937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E355DB88-212F-4F2B-9906-7D127EDB7B43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>
              <a:lumMod val="75000"/>
              <a:alpha val="68000"/>
            </a:schemeClr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29E06CA-86D9-44C9-83E2-C4E0DC57F54C}"/>
              </a:ext>
            </a:extLst>
          </p:cNvPr>
          <p:cNvSpPr/>
          <p:nvPr/>
        </p:nvSpPr>
        <p:spPr>
          <a:xfrm>
            <a:off x="1596" y="1989632"/>
            <a:ext cx="9142404" cy="13708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MODULARIZATION</a:t>
            </a: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05351DF-0C64-40EA-B99D-8E4FE185A374}"/>
              </a:ext>
            </a:extLst>
          </p:cNvPr>
          <p:cNvSpPr/>
          <p:nvPr/>
        </p:nvSpPr>
        <p:spPr>
          <a:xfrm>
            <a:off x="1596" y="3488249"/>
            <a:ext cx="9142404" cy="13708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UTOMATION</a:t>
            </a: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99A34CF-6744-438C-8DA2-B2BC2BFEE52E}"/>
              </a:ext>
            </a:extLst>
          </p:cNvPr>
          <p:cNvSpPr/>
          <p:nvPr/>
        </p:nvSpPr>
        <p:spPr>
          <a:xfrm>
            <a:off x="0" y="505032"/>
            <a:ext cx="9142404" cy="13708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STANDARDIZATION</a:t>
            </a: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097399B-CA9C-4FA6-AB7C-222CADC0E3CE}"/>
              </a:ext>
            </a:extLst>
          </p:cNvPr>
          <p:cNvSpPr/>
          <p:nvPr/>
        </p:nvSpPr>
        <p:spPr>
          <a:xfrm>
            <a:off x="0" y="4996394"/>
            <a:ext cx="9142404" cy="13708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SCALABILITY</a:t>
            </a: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4418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" grpId="0" animBg="1"/>
      <p:bldP spid="35" grpId="0" animBg="1"/>
      <p:bldP spid="36" grpId="0" animBg="1"/>
      <p:bldP spid="3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9E604893-2A50-4930-8C66-718AAC083C7C}"/>
              </a:ext>
            </a:extLst>
          </p:cNvPr>
          <p:cNvSpPr/>
          <p:nvPr/>
        </p:nvSpPr>
        <p:spPr>
          <a:xfrm>
            <a:off x="6206280" y="1262419"/>
            <a:ext cx="2796888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D90878-0BB0-43C6-9F18-E6AC43EE9610}"/>
              </a:ext>
            </a:extLst>
          </p:cNvPr>
          <p:cNvSpPr/>
          <p:nvPr/>
        </p:nvSpPr>
        <p:spPr>
          <a:xfrm>
            <a:off x="5776080" y="2926565"/>
            <a:ext cx="1156982" cy="127470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6CA9680-47E7-4FC7-9C79-C724CCA3487B}"/>
              </a:ext>
            </a:extLst>
          </p:cNvPr>
          <p:cNvSpPr/>
          <p:nvPr/>
        </p:nvSpPr>
        <p:spPr>
          <a:xfrm>
            <a:off x="86507" y="1262419"/>
            <a:ext cx="3055285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B6A0B27-0AB5-46EA-9FCA-89751E01238E}"/>
              </a:ext>
            </a:extLst>
          </p:cNvPr>
          <p:cNvSpPr/>
          <p:nvPr/>
        </p:nvSpPr>
        <p:spPr>
          <a:xfrm>
            <a:off x="2578323" y="290802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C16B-1F34-48AA-AD5B-AC06AE992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Download from cloud">
            <a:extLst>
              <a:ext uri="{FF2B5EF4-FFF2-40B4-BE49-F238E27FC236}">
                <a16:creationId xmlns:a16="http://schemas.microsoft.com/office/drawing/2014/main" id="{B02F548C-9584-439C-A370-70B8655451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12" y="1368811"/>
            <a:ext cx="914400" cy="914400"/>
          </a:xfrm>
          <a:prstGeom prst="rect">
            <a:avLst/>
          </a:prstGeom>
        </p:spPr>
      </p:pic>
      <p:pic>
        <p:nvPicPr>
          <p:cNvPr id="11" name="Graphic 10" descr="Email">
            <a:extLst>
              <a:ext uri="{FF2B5EF4-FFF2-40B4-BE49-F238E27FC236}">
                <a16:creationId xmlns:a16="http://schemas.microsoft.com/office/drawing/2014/main" id="{E6DD9E50-5E90-4660-AB58-3C184622D8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442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5F2310A-C5B7-4EA7-A895-5353CD6CC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0508" y="43801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30591D-9C40-4CA0-9802-6E750B51C2A2}"/>
              </a:ext>
            </a:extLst>
          </p:cNvPr>
          <p:cNvSpPr txBox="1"/>
          <p:nvPr/>
        </p:nvSpPr>
        <p:spPr>
          <a:xfrm>
            <a:off x="104613" y="2283211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-house databa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3574-6144-46F0-9011-0657A3B2916C}"/>
              </a:ext>
            </a:extLst>
          </p:cNvPr>
          <p:cNvSpPr txBox="1"/>
          <p:nvPr/>
        </p:nvSpPr>
        <p:spPr>
          <a:xfrm>
            <a:off x="1596" y="3882823"/>
            <a:ext cx="15387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15A73-DA5F-4454-8699-B27D3FFEF3F1}"/>
              </a:ext>
            </a:extLst>
          </p:cNvPr>
          <p:cNvSpPr txBox="1"/>
          <p:nvPr/>
        </p:nvSpPr>
        <p:spPr>
          <a:xfrm>
            <a:off x="204691" y="5482434"/>
            <a:ext cx="9714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istorical data</a:t>
            </a:r>
          </a:p>
        </p:txBody>
      </p:sp>
      <p:pic>
        <p:nvPicPr>
          <p:cNvPr id="18" name="Graphic 17" descr="Head with Gears">
            <a:extLst>
              <a:ext uri="{FF2B5EF4-FFF2-40B4-BE49-F238E27FC236}">
                <a16:creationId xmlns:a16="http://schemas.microsoft.com/office/drawing/2014/main" id="{7A0F385F-FEC1-4077-85F1-660B2CDB2F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26940" y="3270705"/>
            <a:ext cx="914400" cy="914400"/>
          </a:xfrm>
          <a:prstGeom prst="rect">
            <a:avLst/>
          </a:prstGeom>
        </p:spPr>
      </p:pic>
      <p:pic>
        <p:nvPicPr>
          <p:cNvPr id="20" name="Graphic 19" descr="Upward trend">
            <a:extLst>
              <a:ext uri="{FF2B5EF4-FFF2-40B4-BE49-F238E27FC236}">
                <a16:creationId xmlns:a16="http://schemas.microsoft.com/office/drawing/2014/main" id="{AF0E4935-B717-4621-8BA3-45F340F860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67940" y="2356305"/>
            <a:ext cx="914400" cy="914400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7B806A9-969C-41E1-870B-BE779072C311}"/>
              </a:ext>
            </a:extLst>
          </p:cNvPr>
          <p:cNvCxnSpPr>
            <a:cxnSpLocks/>
          </p:cNvCxnSpPr>
          <p:nvPr/>
        </p:nvCxnSpPr>
        <p:spPr>
          <a:xfrm>
            <a:off x="1347683" y="1897150"/>
            <a:ext cx="1116819" cy="10820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23A434-4AF7-44D3-A576-9D10A2B08E81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1235842" y="3928826"/>
            <a:ext cx="1214871" cy="10324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0D8AAD-25CF-47FD-ABDB-FF0EE349FB05}"/>
              </a:ext>
            </a:extLst>
          </p:cNvPr>
          <p:cNvCxnSpPr>
            <a:cxnSpLocks/>
          </p:cNvCxnSpPr>
          <p:nvPr/>
        </p:nvCxnSpPr>
        <p:spPr>
          <a:xfrm>
            <a:off x="1347683" y="3365228"/>
            <a:ext cx="110303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59C6EEB-0F34-4463-AF47-A6BC5F959F07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499580" y="3365228"/>
            <a:ext cx="65332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E4F625-9AE6-4D67-9D7D-0CFC252B22FA}"/>
              </a:ext>
            </a:extLst>
          </p:cNvPr>
          <p:cNvSpPr txBox="1"/>
          <p:nvPr/>
        </p:nvSpPr>
        <p:spPr>
          <a:xfrm>
            <a:off x="4420111" y="4285610"/>
            <a:ext cx="63959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t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ecasts</a:t>
            </a:r>
          </a:p>
        </p:txBody>
      </p:sp>
      <p:pic>
        <p:nvPicPr>
          <p:cNvPr id="54" name="Graphic 53" descr="Team">
            <a:extLst>
              <a:ext uri="{FF2B5EF4-FFF2-40B4-BE49-F238E27FC236}">
                <a16:creationId xmlns:a16="http://schemas.microsoft.com/office/drawing/2014/main" id="{8220B898-FCDF-4672-8DE6-316CDDFA8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80508" y="1390327"/>
            <a:ext cx="914400" cy="914400"/>
          </a:xfrm>
          <a:prstGeom prst="rect">
            <a:avLst/>
          </a:prstGeom>
        </p:spPr>
      </p:pic>
      <p:pic>
        <p:nvPicPr>
          <p:cNvPr id="58" name="Graphic 57" descr="Hourglass">
            <a:extLst>
              <a:ext uri="{FF2B5EF4-FFF2-40B4-BE49-F238E27FC236}">
                <a16:creationId xmlns:a16="http://schemas.microsoft.com/office/drawing/2014/main" id="{23B8A642-68F0-447D-89C4-8AA86D318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1442" y="4504107"/>
            <a:ext cx="914400" cy="914400"/>
          </a:xfrm>
          <a:prstGeom prst="rect">
            <a:avLst/>
          </a:prstGeom>
        </p:spPr>
      </p:pic>
      <p:pic>
        <p:nvPicPr>
          <p:cNvPr id="60" name="Graphic 59" descr="Meeting">
            <a:extLst>
              <a:ext uri="{FF2B5EF4-FFF2-40B4-BE49-F238E27FC236}">
                <a16:creationId xmlns:a16="http://schemas.microsoft.com/office/drawing/2014/main" id="{911BC9BD-00D6-4838-BDFB-0CF774B33D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600511" y="2926565"/>
            <a:ext cx="914400" cy="914400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A0B14F30-403F-440F-A848-FE7037F97A3B}"/>
              </a:ext>
            </a:extLst>
          </p:cNvPr>
          <p:cNvSpPr txBox="1"/>
          <p:nvPr/>
        </p:nvSpPr>
        <p:spPr>
          <a:xfrm>
            <a:off x="7340177" y="2350323"/>
            <a:ext cx="139506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lient’s departmen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18EF25-5748-4334-9074-0C15BB7548EB}"/>
              </a:ext>
            </a:extLst>
          </p:cNvPr>
          <p:cNvSpPr txBox="1"/>
          <p:nvPr/>
        </p:nvSpPr>
        <p:spPr>
          <a:xfrm>
            <a:off x="7511888" y="3799964"/>
            <a:ext cx="10916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ard memb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AEAF1C-5171-4018-8506-2E210463E114}"/>
              </a:ext>
            </a:extLst>
          </p:cNvPr>
          <p:cNvSpPr txBox="1"/>
          <p:nvPr/>
        </p:nvSpPr>
        <p:spPr>
          <a:xfrm>
            <a:off x="7569171" y="5313316"/>
            <a:ext cx="937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I Dashboar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0E0FB5-7EA0-4FB2-AAA5-D15CCFAA2434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727971" y="1847527"/>
            <a:ext cx="852537" cy="1535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D54A626-1A40-456E-88C0-9453FB30453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6727971" y="3383765"/>
            <a:ext cx="8725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B720B32-032D-4E43-AD78-E6D6052C291F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727971" y="3383519"/>
            <a:ext cx="852537" cy="14538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BCBFA8A-D707-4085-8947-13833D69B565}"/>
              </a:ext>
            </a:extLst>
          </p:cNvPr>
          <p:cNvSpPr txBox="1"/>
          <p:nvPr/>
        </p:nvSpPr>
        <p:spPr>
          <a:xfrm>
            <a:off x="2546154" y="3871213"/>
            <a:ext cx="111569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ta warehouse</a:t>
            </a:r>
          </a:p>
        </p:txBody>
      </p:sp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5585A1DA-01AC-4C34-A8F3-D9D58C31E20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85180" y="2908028"/>
            <a:ext cx="914400" cy="914400"/>
          </a:xfrm>
          <a:prstGeom prst="rect">
            <a:avLst/>
          </a:prstGeom>
        </p:spPr>
      </p:pic>
      <p:pic>
        <p:nvPicPr>
          <p:cNvPr id="3076" name="Picture 4" descr="Image result for document clipart">
            <a:extLst>
              <a:ext uri="{FF2B5EF4-FFF2-40B4-BE49-F238E27FC236}">
                <a16:creationId xmlns:a16="http://schemas.microsoft.com/office/drawing/2014/main" id="{6217B0FD-54CC-4453-8378-BAEC6B8A6B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080" y="2907536"/>
            <a:ext cx="948081" cy="94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7A3EB67-3A3D-47E7-8364-9634A227CDBD}"/>
              </a:ext>
            </a:extLst>
          </p:cNvPr>
          <p:cNvSpPr txBox="1"/>
          <p:nvPr/>
        </p:nvSpPr>
        <p:spPr>
          <a:xfrm>
            <a:off x="5811988" y="3876098"/>
            <a:ext cx="9810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reate report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AA89B6B-9FDA-487F-A8B7-576518AA6D68}"/>
              </a:ext>
            </a:extLst>
          </p:cNvPr>
          <p:cNvCxnSpPr>
            <a:cxnSpLocks/>
          </p:cNvCxnSpPr>
          <p:nvPr/>
        </p:nvCxnSpPr>
        <p:spPr>
          <a:xfrm>
            <a:off x="5182340" y="3395708"/>
            <a:ext cx="5937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6EA0480-85C4-4EED-B127-9F6AE206C3E8}"/>
              </a:ext>
            </a:extLst>
          </p:cNvPr>
          <p:cNvSpPr txBox="1"/>
          <p:nvPr/>
        </p:nvSpPr>
        <p:spPr>
          <a:xfrm>
            <a:off x="4179191" y="4884061"/>
            <a:ext cx="104355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7BB4B6E-1BE3-4DFA-928D-5910A4A7C61D}"/>
              </a:ext>
            </a:extLst>
          </p:cNvPr>
          <p:cNvSpPr txBox="1">
            <a:spLocks/>
          </p:cNvSpPr>
          <p:nvPr/>
        </p:nvSpPr>
        <p:spPr>
          <a:xfrm>
            <a:off x="219583" y="720449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Sales </a:t>
            </a:r>
            <a:r>
              <a:rPr lang="en-US" sz="1800" b="1">
                <a:latin typeface="Arial" panose="020B0604020202020204" pitchFamily="34" charset="0"/>
                <a:cs typeface="Arial" panose="020B0604020202020204" pitchFamily="34" charset="0"/>
              </a:rPr>
              <a:t>forecasting reports </a:t>
            </a: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for multiple departments on a weekly basi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E9EE3C8-504D-42A5-9E3E-175C9A0C40C1}"/>
              </a:ext>
            </a:extLst>
          </p:cNvPr>
          <p:cNvSpPr txBox="1"/>
          <p:nvPr/>
        </p:nvSpPr>
        <p:spPr>
          <a:xfrm>
            <a:off x="888148" y="5893689"/>
            <a:ext cx="147098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 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931B97D-CD49-4C48-9454-800717F6D7C1}"/>
              </a:ext>
            </a:extLst>
          </p:cNvPr>
          <p:cNvSpPr txBox="1"/>
          <p:nvPr/>
        </p:nvSpPr>
        <p:spPr>
          <a:xfrm>
            <a:off x="6879319" y="5919797"/>
            <a:ext cx="147098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 2</a:t>
            </a:r>
          </a:p>
        </p:txBody>
      </p:sp>
    </p:spTree>
    <p:extLst>
      <p:ext uri="{BB962C8B-B14F-4D97-AF65-F5344CB8AC3E}">
        <p14:creationId xmlns:p14="http://schemas.microsoft.com/office/powerpoint/2010/main" val="27131419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7" grpId="0" animBg="1"/>
      <p:bldP spid="37" grpId="0"/>
      <p:bldP spid="41" grpId="0"/>
      <p:bldP spid="4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99000C-E6C4-417A-A92A-E8EE64ABD6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2245809"/>
            <a:ext cx="6858000" cy="1564716"/>
          </a:xfrm>
        </p:spPr>
        <p:txBody>
          <a:bodyPr>
            <a:normAutofit/>
          </a:bodyPr>
          <a:lstStyle/>
          <a:p>
            <a:pPr algn="l"/>
            <a:r>
              <a:rPr lang="en-US" sz="4200">
                <a:latin typeface="Arial" panose="020B0604020202020204" pitchFamily="34" charset="0"/>
                <a:cs typeface="Arial" panose="020B0604020202020204" pitchFamily="34" charset="0"/>
              </a:rPr>
              <a:t>Live Demo</a:t>
            </a:r>
            <a:endParaRPr lang="de-DE" sz="4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Freeform 14">
            <a:extLst>
              <a:ext uri="{FF2B5EF4-FFF2-40B4-BE49-F238E27FC236}">
                <a16:creationId xmlns:a16="http://schemas.microsoft.com/office/drawing/2014/main" id="{C66F2F30-5DC0-44A0-BFA6-E12F46ED16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440464" cy="2130951"/>
          </a:xfrm>
          <a:custGeom>
            <a:avLst/>
            <a:gdLst>
              <a:gd name="connsiteX0" fmla="*/ 0 w 5920619"/>
              <a:gd name="connsiteY0" fmla="*/ 0 h 2130951"/>
              <a:gd name="connsiteX1" fmla="*/ 3191370 w 5920619"/>
              <a:gd name="connsiteY1" fmla="*/ 0 h 2130951"/>
              <a:gd name="connsiteX2" fmla="*/ 3346315 w 5920619"/>
              <a:gd name="connsiteY2" fmla="*/ 0 h 2130951"/>
              <a:gd name="connsiteX3" fmla="*/ 5920619 w 5920619"/>
              <a:gd name="connsiteY3" fmla="*/ 0 h 2130951"/>
              <a:gd name="connsiteX4" fmla="*/ 4936971 w 5920619"/>
              <a:gd name="connsiteY4" fmla="*/ 2130951 h 2130951"/>
              <a:gd name="connsiteX5" fmla="*/ 0 w 5920619"/>
              <a:gd name="connsiteY5" fmla="*/ 2130951 h 2130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20619" h="2130951">
                <a:moveTo>
                  <a:pt x="0" y="0"/>
                </a:moveTo>
                <a:lnTo>
                  <a:pt x="3191370" y="0"/>
                </a:lnTo>
                <a:lnTo>
                  <a:pt x="3346315" y="0"/>
                </a:lnTo>
                <a:lnTo>
                  <a:pt x="5920619" y="0"/>
                </a:lnTo>
                <a:lnTo>
                  <a:pt x="4936971" y="2130951"/>
                </a:lnTo>
                <a:lnTo>
                  <a:pt x="0" y="213095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reeform 21">
            <a:extLst>
              <a:ext uri="{FF2B5EF4-FFF2-40B4-BE49-F238E27FC236}">
                <a16:creationId xmlns:a16="http://schemas.microsoft.com/office/drawing/2014/main" id="{85872F57-7F42-4F97-8391-DDC8D0054C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23379" y="0"/>
            <a:ext cx="5320620" cy="2130952"/>
          </a:xfrm>
          <a:custGeom>
            <a:avLst/>
            <a:gdLst>
              <a:gd name="connsiteX0" fmla="*/ 4417853 w 7094160"/>
              <a:gd name="connsiteY0" fmla="*/ 0 h 2130952"/>
              <a:gd name="connsiteX1" fmla="*/ 7094160 w 7094160"/>
              <a:gd name="connsiteY1" fmla="*/ 0 h 2130952"/>
              <a:gd name="connsiteX2" fmla="*/ 7094160 w 7094160"/>
              <a:gd name="connsiteY2" fmla="*/ 2130552 h 2130952"/>
              <a:gd name="connsiteX3" fmla="*/ 5920619 w 7094160"/>
              <a:gd name="connsiteY3" fmla="*/ 2130552 h 2130952"/>
              <a:gd name="connsiteX4" fmla="*/ 5920619 w 7094160"/>
              <a:gd name="connsiteY4" fmla="*/ 2130952 h 2130952"/>
              <a:gd name="connsiteX5" fmla="*/ 2729249 w 7094160"/>
              <a:gd name="connsiteY5" fmla="*/ 2130952 h 2130952"/>
              <a:gd name="connsiteX6" fmla="*/ 2574304 w 7094160"/>
              <a:gd name="connsiteY6" fmla="*/ 2130952 h 2130952"/>
              <a:gd name="connsiteX7" fmla="*/ 0 w 7094160"/>
              <a:gd name="connsiteY7" fmla="*/ 2130952 h 2130952"/>
              <a:gd name="connsiteX8" fmla="*/ 983648 w 7094160"/>
              <a:gd name="connsiteY8" fmla="*/ 1 h 2130952"/>
              <a:gd name="connsiteX9" fmla="*/ 4417853 w 7094160"/>
              <a:gd name="connsiteY9" fmla="*/ 1 h 2130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094160" h="2130952">
                <a:moveTo>
                  <a:pt x="4417853" y="0"/>
                </a:moveTo>
                <a:lnTo>
                  <a:pt x="7094160" y="0"/>
                </a:lnTo>
                <a:lnTo>
                  <a:pt x="7094160" y="2130552"/>
                </a:lnTo>
                <a:lnTo>
                  <a:pt x="5920619" y="2130552"/>
                </a:lnTo>
                <a:lnTo>
                  <a:pt x="5920619" y="2130952"/>
                </a:lnTo>
                <a:lnTo>
                  <a:pt x="2729249" y="2130952"/>
                </a:lnTo>
                <a:lnTo>
                  <a:pt x="2574304" y="2130952"/>
                </a:lnTo>
                <a:lnTo>
                  <a:pt x="0" y="2130952"/>
                </a:lnTo>
                <a:lnTo>
                  <a:pt x="983648" y="1"/>
                </a:lnTo>
                <a:lnTo>
                  <a:pt x="4417853" y="1"/>
                </a:lnTo>
                <a:close/>
              </a:path>
            </a:pathLst>
          </a:custGeom>
          <a:solidFill>
            <a:srgbClr val="7F7F7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 useBgFill="1">
        <p:nvSpPr>
          <p:cNvPr id="64" name="Freeform: Shape 63">
            <a:extLst>
              <a:ext uri="{FF2B5EF4-FFF2-40B4-BE49-F238E27FC236}">
                <a16:creationId xmlns:a16="http://schemas.microsoft.com/office/drawing/2014/main" id="{04DC2037-48A0-4F22-B9D4-8EAEBC780A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612290" y="4682920"/>
            <a:ext cx="3392097" cy="2175080"/>
          </a:xfrm>
          <a:custGeom>
            <a:avLst/>
            <a:gdLst>
              <a:gd name="connsiteX0" fmla="*/ 3515449 w 4522796"/>
              <a:gd name="connsiteY0" fmla="*/ 0 h 2175080"/>
              <a:gd name="connsiteX1" fmla="*/ 0 w 4522796"/>
              <a:gd name="connsiteY1" fmla="*/ 0 h 2175080"/>
              <a:gd name="connsiteX2" fmla="*/ 0 w 4522796"/>
              <a:gd name="connsiteY2" fmla="*/ 2175080 h 2175080"/>
              <a:gd name="connsiteX3" fmla="*/ 4522796 w 4522796"/>
              <a:gd name="connsiteY3" fmla="*/ 2175080 h 2175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22796" h="2175080">
                <a:moveTo>
                  <a:pt x="3515449" y="0"/>
                </a:moveTo>
                <a:lnTo>
                  <a:pt x="0" y="0"/>
                </a:lnTo>
                <a:lnTo>
                  <a:pt x="0" y="2175080"/>
                </a:lnTo>
                <a:lnTo>
                  <a:pt x="4522796" y="217508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reeform 22">
            <a:extLst>
              <a:ext uri="{FF2B5EF4-FFF2-40B4-BE49-F238E27FC236}">
                <a16:creationId xmlns:a16="http://schemas.microsoft.com/office/drawing/2014/main" id="{0006CBFD-ADA0-43D1-9332-9C34CA1C7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00107" y="4682920"/>
            <a:ext cx="4443893" cy="2175080"/>
          </a:xfrm>
          <a:custGeom>
            <a:avLst/>
            <a:gdLst>
              <a:gd name="connsiteX0" fmla="*/ 1007347 w 5925190"/>
              <a:gd name="connsiteY0" fmla="*/ 0 h 2175080"/>
              <a:gd name="connsiteX1" fmla="*/ 5925190 w 5925190"/>
              <a:gd name="connsiteY1" fmla="*/ 0 h 2175080"/>
              <a:gd name="connsiteX2" fmla="*/ 5925190 w 5925190"/>
              <a:gd name="connsiteY2" fmla="*/ 2175080 h 2175080"/>
              <a:gd name="connsiteX3" fmla="*/ 0 w 5925190"/>
              <a:gd name="connsiteY3" fmla="*/ 2175080 h 2175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25190" h="2175080">
                <a:moveTo>
                  <a:pt x="1007347" y="0"/>
                </a:moveTo>
                <a:lnTo>
                  <a:pt x="5925190" y="0"/>
                </a:lnTo>
                <a:lnTo>
                  <a:pt x="5925190" y="2175080"/>
                </a:lnTo>
                <a:lnTo>
                  <a:pt x="0" y="217508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Freeform 25">
            <a:extLst>
              <a:ext uri="{FF2B5EF4-FFF2-40B4-BE49-F238E27FC236}">
                <a16:creationId xmlns:a16="http://schemas.microsoft.com/office/drawing/2014/main" id="{2B931666-F28F-45F3-A074-66D2272D58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682920"/>
            <a:ext cx="5335901" cy="2175080"/>
          </a:xfrm>
          <a:custGeom>
            <a:avLst/>
            <a:gdLst>
              <a:gd name="connsiteX0" fmla="*/ 0 w 7114535"/>
              <a:gd name="connsiteY0" fmla="*/ 0 h 2175080"/>
              <a:gd name="connsiteX1" fmla="*/ 1189345 w 7114535"/>
              <a:gd name="connsiteY1" fmla="*/ 0 h 2175080"/>
              <a:gd name="connsiteX2" fmla="*/ 7114535 w 7114535"/>
              <a:gd name="connsiteY2" fmla="*/ 0 h 2175080"/>
              <a:gd name="connsiteX3" fmla="*/ 6107188 w 7114535"/>
              <a:gd name="connsiteY3" fmla="*/ 2175080 h 2175080"/>
              <a:gd name="connsiteX4" fmla="*/ 1189345 w 7114535"/>
              <a:gd name="connsiteY4" fmla="*/ 2175080 h 2175080"/>
              <a:gd name="connsiteX5" fmla="*/ 0 w 7114535"/>
              <a:gd name="connsiteY5" fmla="*/ 2175080 h 2175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4535" h="2175080">
                <a:moveTo>
                  <a:pt x="0" y="0"/>
                </a:moveTo>
                <a:lnTo>
                  <a:pt x="1189345" y="0"/>
                </a:lnTo>
                <a:lnTo>
                  <a:pt x="7114535" y="0"/>
                </a:lnTo>
                <a:lnTo>
                  <a:pt x="6107188" y="2175080"/>
                </a:lnTo>
                <a:lnTo>
                  <a:pt x="1189345" y="2175080"/>
                </a:lnTo>
                <a:lnTo>
                  <a:pt x="0" y="2175080"/>
                </a:lnTo>
                <a:close/>
              </a:path>
            </a:pathLst>
          </a:custGeom>
          <a:solidFill>
            <a:srgbClr val="7F7F7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1404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Freeform: Shape 72">
            <a:extLst>
              <a:ext uri="{FF2B5EF4-FFF2-40B4-BE49-F238E27FC236}">
                <a16:creationId xmlns:a16="http://schemas.microsoft.com/office/drawing/2014/main" id="{46C2E80F-49A6-4372-B103-219D417A5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3072" y="470925"/>
            <a:ext cx="3285756" cy="5892104"/>
          </a:xfrm>
          <a:custGeom>
            <a:avLst/>
            <a:gdLst>
              <a:gd name="connsiteX0" fmla="*/ 0 w 4381009"/>
              <a:gd name="connsiteY0" fmla="*/ 0 h 5892104"/>
              <a:gd name="connsiteX1" fmla="*/ 4157628 w 4381009"/>
              <a:gd name="connsiteY1" fmla="*/ 0 h 5892104"/>
              <a:gd name="connsiteX2" fmla="*/ 4169302 w 4381009"/>
              <a:gd name="connsiteY2" fmla="*/ 68659 h 5892104"/>
              <a:gd name="connsiteX3" fmla="*/ 4191571 w 4381009"/>
              <a:gd name="connsiteY3" fmla="*/ 205472 h 5892104"/>
              <a:gd name="connsiteX4" fmla="*/ 4213368 w 4381009"/>
              <a:gd name="connsiteY4" fmla="*/ 342890 h 5892104"/>
              <a:gd name="connsiteX5" fmla="*/ 4232030 w 4381009"/>
              <a:gd name="connsiteY5" fmla="*/ 480913 h 5892104"/>
              <a:gd name="connsiteX6" fmla="*/ 4250848 w 4381009"/>
              <a:gd name="connsiteY6" fmla="*/ 618332 h 5892104"/>
              <a:gd name="connsiteX7" fmla="*/ 4268412 w 4381009"/>
              <a:gd name="connsiteY7" fmla="*/ 756355 h 5892104"/>
              <a:gd name="connsiteX8" fmla="*/ 4283467 w 4381009"/>
              <a:gd name="connsiteY8" fmla="*/ 892563 h 5892104"/>
              <a:gd name="connsiteX9" fmla="*/ 4297737 w 4381009"/>
              <a:gd name="connsiteY9" fmla="*/ 1030587 h 5892104"/>
              <a:gd name="connsiteX10" fmla="*/ 4310754 w 4381009"/>
              <a:gd name="connsiteY10" fmla="*/ 1168005 h 5892104"/>
              <a:gd name="connsiteX11" fmla="*/ 4322045 w 4381009"/>
              <a:gd name="connsiteY11" fmla="*/ 1303002 h 5892104"/>
              <a:gd name="connsiteX12" fmla="*/ 4333336 w 4381009"/>
              <a:gd name="connsiteY12" fmla="*/ 1439815 h 5892104"/>
              <a:gd name="connsiteX13" fmla="*/ 4342745 w 4381009"/>
              <a:gd name="connsiteY13" fmla="*/ 1574812 h 5892104"/>
              <a:gd name="connsiteX14" fmla="*/ 4350115 w 4381009"/>
              <a:gd name="connsiteY14" fmla="*/ 1709808 h 5892104"/>
              <a:gd name="connsiteX15" fmla="*/ 4357799 w 4381009"/>
              <a:gd name="connsiteY15" fmla="*/ 1844200 h 5892104"/>
              <a:gd name="connsiteX16" fmla="*/ 4364229 w 4381009"/>
              <a:gd name="connsiteY16" fmla="*/ 1977381 h 5892104"/>
              <a:gd name="connsiteX17" fmla="*/ 4368777 w 4381009"/>
              <a:gd name="connsiteY17" fmla="*/ 2109351 h 5892104"/>
              <a:gd name="connsiteX18" fmla="*/ 4372697 w 4381009"/>
              <a:gd name="connsiteY18" fmla="*/ 2241321 h 5892104"/>
              <a:gd name="connsiteX19" fmla="*/ 4376461 w 4381009"/>
              <a:gd name="connsiteY19" fmla="*/ 2372080 h 5892104"/>
              <a:gd name="connsiteX20" fmla="*/ 4378186 w 4381009"/>
              <a:gd name="connsiteY20" fmla="*/ 2501023 h 5892104"/>
              <a:gd name="connsiteX21" fmla="*/ 4380068 w 4381009"/>
              <a:gd name="connsiteY21" fmla="*/ 2629966 h 5892104"/>
              <a:gd name="connsiteX22" fmla="*/ 4381009 w 4381009"/>
              <a:gd name="connsiteY22" fmla="*/ 2757093 h 5892104"/>
              <a:gd name="connsiteX23" fmla="*/ 4380068 w 4381009"/>
              <a:gd name="connsiteY23" fmla="*/ 2883010 h 5892104"/>
              <a:gd name="connsiteX24" fmla="*/ 4380068 w 4381009"/>
              <a:gd name="connsiteY24" fmla="*/ 3007715 h 5892104"/>
              <a:gd name="connsiteX25" fmla="*/ 4378186 w 4381009"/>
              <a:gd name="connsiteY25" fmla="*/ 3131210 h 5892104"/>
              <a:gd name="connsiteX26" fmla="*/ 4375363 w 4381009"/>
              <a:gd name="connsiteY26" fmla="*/ 3252283 h 5892104"/>
              <a:gd name="connsiteX27" fmla="*/ 4372697 w 4381009"/>
              <a:gd name="connsiteY27" fmla="*/ 3372146 h 5892104"/>
              <a:gd name="connsiteX28" fmla="*/ 4369718 w 4381009"/>
              <a:gd name="connsiteY28" fmla="*/ 3489587 h 5892104"/>
              <a:gd name="connsiteX29" fmla="*/ 4365170 w 4381009"/>
              <a:gd name="connsiteY29" fmla="*/ 3606423 h 5892104"/>
              <a:gd name="connsiteX30" fmla="*/ 4360309 w 4381009"/>
              <a:gd name="connsiteY30" fmla="*/ 3721443 h 5892104"/>
              <a:gd name="connsiteX31" fmla="*/ 4355918 w 4381009"/>
              <a:gd name="connsiteY31" fmla="*/ 3834041 h 5892104"/>
              <a:gd name="connsiteX32" fmla="*/ 4343529 w 4381009"/>
              <a:gd name="connsiteY32" fmla="*/ 4053789 h 5892104"/>
              <a:gd name="connsiteX33" fmla="*/ 4330356 w 4381009"/>
              <a:gd name="connsiteY33" fmla="*/ 4264457 h 5892104"/>
              <a:gd name="connsiteX34" fmla="*/ 4316556 w 4381009"/>
              <a:gd name="connsiteY34" fmla="*/ 4466650 h 5892104"/>
              <a:gd name="connsiteX35" fmla="*/ 4301344 w 4381009"/>
              <a:gd name="connsiteY35" fmla="*/ 4657946 h 5892104"/>
              <a:gd name="connsiteX36" fmla="*/ 4285506 w 4381009"/>
              <a:gd name="connsiteY36" fmla="*/ 4840767 h 5892104"/>
              <a:gd name="connsiteX37" fmla="*/ 4268412 w 4381009"/>
              <a:gd name="connsiteY37" fmla="*/ 5010269 h 5892104"/>
              <a:gd name="connsiteX38" fmla="*/ 4251633 w 4381009"/>
              <a:gd name="connsiteY38" fmla="*/ 5169481 h 5892104"/>
              <a:gd name="connsiteX39" fmla="*/ 4234853 w 4381009"/>
              <a:gd name="connsiteY39" fmla="*/ 5315980 h 5892104"/>
              <a:gd name="connsiteX40" fmla="*/ 4219014 w 4381009"/>
              <a:gd name="connsiteY40" fmla="*/ 5450371 h 5892104"/>
              <a:gd name="connsiteX41" fmla="*/ 4203959 w 4381009"/>
              <a:gd name="connsiteY41" fmla="*/ 5569628 h 5892104"/>
              <a:gd name="connsiteX42" fmla="*/ 4189689 w 4381009"/>
              <a:gd name="connsiteY42" fmla="*/ 5677384 h 5892104"/>
              <a:gd name="connsiteX43" fmla="*/ 4177770 w 4381009"/>
              <a:gd name="connsiteY43" fmla="*/ 5768189 h 5892104"/>
              <a:gd name="connsiteX44" fmla="*/ 4166479 w 4381009"/>
              <a:gd name="connsiteY44" fmla="*/ 5844465 h 5892104"/>
              <a:gd name="connsiteX45" fmla="*/ 4159132 w 4381009"/>
              <a:gd name="connsiteY45" fmla="*/ 5892104 h 5892104"/>
              <a:gd name="connsiteX46" fmla="*/ 0 w 4381009"/>
              <a:gd name="connsiteY46" fmla="*/ 5892104 h 589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381009" h="5892104">
                <a:moveTo>
                  <a:pt x="0" y="0"/>
                </a:moveTo>
                <a:lnTo>
                  <a:pt x="4157628" y="0"/>
                </a:lnTo>
                <a:lnTo>
                  <a:pt x="4169302" y="68659"/>
                </a:lnTo>
                <a:lnTo>
                  <a:pt x="4191571" y="205472"/>
                </a:lnTo>
                <a:lnTo>
                  <a:pt x="4213368" y="342890"/>
                </a:lnTo>
                <a:lnTo>
                  <a:pt x="4232030" y="480913"/>
                </a:lnTo>
                <a:lnTo>
                  <a:pt x="4250848" y="618332"/>
                </a:lnTo>
                <a:lnTo>
                  <a:pt x="4268412" y="756355"/>
                </a:lnTo>
                <a:lnTo>
                  <a:pt x="4283467" y="892563"/>
                </a:lnTo>
                <a:lnTo>
                  <a:pt x="4297737" y="1030587"/>
                </a:lnTo>
                <a:lnTo>
                  <a:pt x="4310754" y="1168005"/>
                </a:lnTo>
                <a:lnTo>
                  <a:pt x="4322045" y="1303002"/>
                </a:lnTo>
                <a:lnTo>
                  <a:pt x="4333336" y="1439815"/>
                </a:lnTo>
                <a:lnTo>
                  <a:pt x="4342745" y="1574812"/>
                </a:lnTo>
                <a:lnTo>
                  <a:pt x="4350115" y="1709808"/>
                </a:lnTo>
                <a:lnTo>
                  <a:pt x="4357799" y="1844200"/>
                </a:lnTo>
                <a:lnTo>
                  <a:pt x="4364229" y="1977381"/>
                </a:lnTo>
                <a:lnTo>
                  <a:pt x="4368777" y="2109351"/>
                </a:lnTo>
                <a:lnTo>
                  <a:pt x="4372697" y="2241321"/>
                </a:lnTo>
                <a:lnTo>
                  <a:pt x="4376461" y="2372080"/>
                </a:lnTo>
                <a:lnTo>
                  <a:pt x="4378186" y="2501023"/>
                </a:lnTo>
                <a:lnTo>
                  <a:pt x="4380068" y="2629966"/>
                </a:lnTo>
                <a:lnTo>
                  <a:pt x="4381009" y="2757093"/>
                </a:lnTo>
                <a:lnTo>
                  <a:pt x="4380068" y="2883010"/>
                </a:lnTo>
                <a:lnTo>
                  <a:pt x="4380068" y="3007715"/>
                </a:lnTo>
                <a:lnTo>
                  <a:pt x="4378186" y="3131210"/>
                </a:lnTo>
                <a:lnTo>
                  <a:pt x="4375363" y="3252283"/>
                </a:lnTo>
                <a:lnTo>
                  <a:pt x="4372697" y="3372146"/>
                </a:lnTo>
                <a:lnTo>
                  <a:pt x="4369718" y="3489587"/>
                </a:lnTo>
                <a:lnTo>
                  <a:pt x="4365170" y="3606423"/>
                </a:lnTo>
                <a:lnTo>
                  <a:pt x="4360309" y="3721443"/>
                </a:lnTo>
                <a:lnTo>
                  <a:pt x="4355918" y="3834041"/>
                </a:lnTo>
                <a:lnTo>
                  <a:pt x="4343529" y="4053789"/>
                </a:lnTo>
                <a:lnTo>
                  <a:pt x="4330356" y="4264457"/>
                </a:lnTo>
                <a:lnTo>
                  <a:pt x="4316556" y="4466650"/>
                </a:lnTo>
                <a:lnTo>
                  <a:pt x="4301344" y="4657946"/>
                </a:lnTo>
                <a:lnTo>
                  <a:pt x="4285506" y="4840767"/>
                </a:lnTo>
                <a:lnTo>
                  <a:pt x="4268412" y="5010269"/>
                </a:lnTo>
                <a:lnTo>
                  <a:pt x="4251633" y="5169481"/>
                </a:lnTo>
                <a:lnTo>
                  <a:pt x="4234853" y="5315980"/>
                </a:lnTo>
                <a:lnTo>
                  <a:pt x="4219014" y="5450371"/>
                </a:lnTo>
                <a:lnTo>
                  <a:pt x="4203959" y="5569628"/>
                </a:lnTo>
                <a:lnTo>
                  <a:pt x="4189689" y="5677384"/>
                </a:lnTo>
                <a:lnTo>
                  <a:pt x="4177770" y="5768189"/>
                </a:lnTo>
                <a:lnTo>
                  <a:pt x="4166479" y="5844465"/>
                </a:lnTo>
                <a:lnTo>
                  <a:pt x="4159132" y="5892104"/>
                </a:lnTo>
                <a:lnTo>
                  <a:pt x="0" y="5892104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B4EFDE-1FD2-4EEF-8E8B-9C326E456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271" y="1012004"/>
            <a:ext cx="2562119" cy="479540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3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ve Demo</a:t>
            </a:r>
          </a:p>
        </p:txBody>
      </p:sp>
      <p:graphicFrame>
        <p:nvGraphicFramePr>
          <p:cNvPr id="78" name="Content Placeholder 3">
            <a:extLst>
              <a:ext uri="{FF2B5EF4-FFF2-40B4-BE49-F238E27FC236}">
                <a16:creationId xmlns:a16="http://schemas.microsoft.com/office/drawing/2014/main" id="{AD908FF6-302E-4548-88AB-EC8CC8259CC4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088450792"/>
              </p:ext>
            </p:extLst>
          </p:nvPr>
        </p:nvGraphicFramePr>
        <p:xfrm>
          <a:off x="3895725" y="470924"/>
          <a:ext cx="4885203" cy="5885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09417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7" name="Rectangle 106">
            <a:extLst>
              <a:ext uri="{FF2B5EF4-FFF2-40B4-BE49-F238E27FC236}">
                <a16:creationId xmlns:a16="http://schemas.microsoft.com/office/drawing/2014/main" id="{15911E3A-C35B-4EF7-A355-B84E9A14A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9144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21ADB3D-AD65-44B4-847D-5E90E90A5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13134" y="0"/>
            <a:ext cx="9438087" cy="6853238"/>
            <a:chOff x="-417513" y="0"/>
            <a:chExt cx="12584114" cy="6853238"/>
          </a:xfrm>
        </p:grpSpPr>
        <p:sp>
          <p:nvSpPr>
            <p:cNvPr id="110" name="Freeform 5">
              <a:extLst>
                <a:ext uri="{FF2B5EF4-FFF2-40B4-BE49-F238E27FC236}">
                  <a16:creationId xmlns:a16="http://schemas.microsoft.com/office/drawing/2014/main" id="{CF580C70-814C-4845-B645-919BFFBD16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06513" y="0"/>
              <a:ext cx="3862388" cy="6843713"/>
            </a:xfrm>
            <a:custGeom>
              <a:avLst/>
              <a:gdLst/>
              <a:ahLst/>
              <a:cxnLst/>
              <a:rect l="0" t="0" r="r" b="b"/>
              <a:pathLst>
                <a:path w="813" h="1440">
                  <a:moveTo>
                    <a:pt x="813" y="0"/>
                  </a:moveTo>
                  <a:cubicBezTo>
                    <a:pt x="331" y="221"/>
                    <a:pt x="0" y="1039"/>
                    <a:pt x="43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11" name="Freeform 6">
              <a:extLst>
                <a:ext uri="{FF2B5EF4-FFF2-40B4-BE49-F238E27FC236}">
                  <a16:creationId xmlns:a16="http://schemas.microsoft.com/office/drawing/2014/main" id="{34D7BF57-4CAA-45B2-9EF0-0AA1FCF70B1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626725" y="9525"/>
              <a:ext cx="1539875" cy="555625"/>
            </a:xfrm>
            <a:custGeom>
              <a:avLst/>
              <a:gdLst/>
              <a:ahLst/>
              <a:cxnLst/>
              <a:rect l="0" t="0" r="r" b="b"/>
              <a:pathLst>
                <a:path w="324" h="117">
                  <a:moveTo>
                    <a:pt x="324" y="117"/>
                  </a:moveTo>
                  <a:cubicBezTo>
                    <a:pt x="223" y="64"/>
                    <a:pt x="107" y="2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12" name="Freeform 7">
              <a:extLst>
                <a:ext uri="{FF2B5EF4-FFF2-40B4-BE49-F238E27FC236}">
                  <a16:creationId xmlns:a16="http://schemas.microsoft.com/office/drawing/2014/main" id="{7886F306-C03A-40C6-8FD5-DCE3D4595D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247313" y="5013325"/>
              <a:ext cx="1919288" cy="1830388"/>
            </a:xfrm>
            <a:custGeom>
              <a:avLst/>
              <a:gdLst/>
              <a:ahLst/>
              <a:cxnLst/>
              <a:rect l="0" t="0" r="r" b="b"/>
              <a:pathLst>
                <a:path w="404" h="385">
                  <a:moveTo>
                    <a:pt x="0" y="385"/>
                  </a:moveTo>
                  <a:cubicBezTo>
                    <a:pt x="146" y="272"/>
                    <a:pt x="285" y="142"/>
                    <a:pt x="404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13" name="Freeform 8">
              <a:extLst>
                <a:ext uri="{FF2B5EF4-FFF2-40B4-BE49-F238E27FC236}">
                  <a16:creationId xmlns:a16="http://schemas.microsoft.com/office/drawing/2014/main" id="{2FDC9A36-C7C3-47D7-A64E-ED25C47EC70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0775" y="0"/>
              <a:ext cx="3676650" cy="6843713"/>
            </a:xfrm>
            <a:custGeom>
              <a:avLst/>
              <a:gdLst/>
              <a:ahLst/>
              <a:cxnLst/>
              <a:rect l="0" t="0" r="r" b="b"/>
              <a:pathLst>
                <a:path w="774" h="1440">
                  <a:moveTo>
                    <a:pt x="774" y="0"/>
                  </a:moveTo>
                  <a:cubicBezTo>
                    <a:pt x="312" y="240"/>
                    <a:pt x="0" y="1034"/>
                    <a:pt x="41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14" name="Freeform 9">
              <a:extLst>
                <a:ext uri="{FF2B5EF4-FFF2-40B4-BE49-F238E27FC236}">
                  <a16:creationId xmlns:a16="http://schemas.microsoft.com/office/drawing/2014/main" id="{BB19BC37-158A-43DC-9A9E-E45CC71954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02988" y="9525"/>
              <a:ext cx="963613" cy="366713"/>
            </a:xfrm>
            <a:custGeom>
              <a:avLst/>
              <a:gdLst/>
              <a:ahLst/>
              <a:cxnLst/>
              <a:rect l="0" t="0" r="r" b="b"/>
              <a:pathLst>
                <a:path w="203" h="77">
                  <a:moveTo>
                    <a:pt x="203" y="77"/>
                  </a:moveTo>
                  <a:cubicBezTo>
                    <a:pt x="138" y="46"/>
                    <a:pt x="68" y="2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15" name="Freeform 10">
              <a:extLst>
                <a:ext uri="{FF2B5EF4-FFF2-40B4-BE49-F238E27FC236}">
                  <a16:creationId xmlns:a16="http://schemas.microsoft.com/office/drawing/2014/main" id="{077654CC-108F-48D5-B5E9-437F164F52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494963" y="5275263"/>
              <a:ext cx="1666875" cy="1577975"/>
            </a:xfrm>
            <a:custGeom>
              <a:avLst/>
              <a:gdLst/>
              <a:ahLst/>
              <a:cxnLst/>
              <a:rect l="0" t="0" r="r" b="b"/>
              <a:pathLst>
                <a:path w="351" h="332">
                  <a:moveTo>
                    <a:pt x="0" y="332"/>
                  </a:moveTo>
                  <a:cubicBezTo>
                    <a:pt x="125" y="232"/>
                    <a:pt x="245" y="121"/>
                    <a:pt x="35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16" name="Freeform 11">
              <a:extLst>
                <a:ext uri="{FF2B5EF4-FFF2-40B4-BE49-F238E27FC236}">
                  <a16:creationId xmlns:a16="http://schemas.microsoft.com/office/drawing/2014/main" id="{A3CF3A63-1C1E-4E85-A78A-FDC16431E3A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1713" y="0"/>
              <a:ext cx="3621088" cy="6843713"/>
            </a:xfrm>
            <a:custGeom>
              <a:avLst/>
              <a:gdLst/>
              <a:ahLst/>
              <a:cxnLst/>
              <a:rect l="0" t="0" r="r" b="b"/>
              <a:pathLst>
                <a:path w="762" h="1440">
                  <a:moveTo>
                    <a:pt x="762" y="0"/>
                  </a:moveTo>
                  <a:cubicBezTo>
                    <a:pt x="308" y="245"/>
                    <a:pt x="0" y="1033"/>
                    <a:pt x="403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17" name="Freeform 12">
              <a:extLst>
                <a:ext uri="{FF2B5EF4-FFF2-40B4-BE49-F238E27FC236}">
                  <a16:creationId xmlns:a16="http://schemas.microsoft.com/office/drawing/2014/main" id="{8740FC9A-72DD-4D9B-BA25-1CCED13524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501438" y="9525"/>
              <a:ext cx="665163" cy="257175"/>
            </a:xfrm>
            <a:custGeom>
              <a:avLst/>
              <a:gdLst/>
              <a:ahLst/>
              <a:cxnLst/>
              <a:rect l="0" t="0" r="r" b="b"/>
              <a:pathLst>
                <a:path w="140" h="54">
                  <a:moveTo>
                    <a:pt x="140" y="54"/>
                  </a:moveTo>
                  <a:cubicBezTo>
                    <a:pt x="95" y="34"/>
                    <a:pt x="48" y="1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18" name="Freeform 13">
              <a:extLst>
                <a:ext uri="{FF2B5EF4-FFF2-40B4-BE49-F238E27FC236}">
                  <a16:creationId xmlns:a16="http://schemas.microsoft.com/office/drawing/2014/main" id="{7FBF5743-F2AE-4D0D-BCD1-01F7686D01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641013" y="5408613"/>
              <a:ext cx="1525588" cy="1435100"/>
            </a:xfrm>
            <a:custGeom>
              <a:avLst/>
              <a:gdLst/>
              <a:ahLst/>
              <a:cxnLst/>
              <a:rect l="0" t="0" r="r" b="b"/>
              <a:pathLst>
                <a:path w="321" h="302">
                  <a:moveTo>
                    <a:pt x="0" y="302"/>
                  </a:moveTo>
                  <a:cubicBezTo>
                    <a:pt x="114" y="210"/>
                    <a:pt x="223" y="109"/>
                    <a:pt x="321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19" name="Freeform 14">
              <a:extLst>
                <a:ext uri="{FF2B5EF4-FFF2-40B4-BE49-F238E27FC236}">
                  <a16:creationId xmlns:a16="http://schemas.microsoft.com/office/drawing/2014/main" id="{CED32316-D4F7-4795-BBE0-DEBB60E27C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1713" y="0"/>
              <a:ext cx="3244850" cy="6843713"/>
            </a:xfrm>
            <a:custGeom>
              <a:avLst/>
              <a:gdLst/>
              <a:ahLst/>
              <a:cxnLst/>
              <a:rect l="0" t="0" r="r" b="b"/>
              <a:pathLst>
                <a:path w="683" h="1440">
                  <a:moveTo>
                    <a:pt x="683" y="0"/>
                  </a:moveTo>
                  <a:cubicBezTo>
                    <a:pt x="258" y="256"/>
                    <a:pt x="0" y="1041"/>
                    <a:pt x="355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0" name="Freeform 15">
              <a:extLst>
                <a:ext uri="{FF2B5EF4-FFF2-40B4-BE49-F238E27FC236}">
                  <a16:creationId xmlns:a16="http://schemas.microsoft.com/office/drawing/2014/main" id="{583B23C9-B9B7-4E93-9538-CBE316F83F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802938" y="5518150"/>
              <a:ext cx="1363663" cy="1325563"/>
            </a:xfrm>
            <a:custGeom>
              <a:avLst/>
              <a:gdLst/>
              <a:ahLst/>
              <a:cxnLst/>
              <a:rect l="0" t="0" r="r" b="b"/>
              <a:pathLst>
                <a:path w="287" h="279">
                  <a:moveTo>
                    <a:pt x="0" y="279"/>
                  </a:moveTo>
                  <a:cubicBezTo>
                    <a:pt x="101" y="193"/>
                    <a:pt x="198" y="100"/>
                    <a:pt x="287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1" name="Freeform 16">
              <a:extLst>
                <a:ext uri="{FF2B5EF4-FFF2-40B4-BE49-F238E27FC236}">
                  <a16:creationId xmlns:a16="http://schemas.microsoft.com/office/drawing/2014/main" id="{5B144260-9F2C-4ADB-A37C-1CFB4B428B1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89000" y="0"/>
              <a:ext cx="3230563" cy="6843713"/>
            </a:xfrm>
            <a:custGeom>
              <a:avLst/>
              <a:gdLst/>
              <a:ahLst/>
              <a:cxnLst/>
              <a:rect l="0" t="0" r="r" b="b"/>
              <a:pathLst>
                <a:path w="680" h="1440">
                  <a:moveTo>
                    <a:pt x="680" y="0"/>
                  </a:moveTo>
                  <a:cubicBezTo>
                    <a:pt x="257" y="265"/>
                    <a:pt x="0" y="1026"/>
                    <a:pt x="337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2" name="Freeform 17">
              <a:extLst>
                <a:ext uri="{FF2B5EF4-FFF2-40B4-BE49-F238E27FC236}">
                  <a16:creationId xmlns:a16="http://schemas.microsoft.com/office/drawing/2014/main" id="{53FF918D-79D3-4F55-A68C-0DD5880DAB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979150" y="5694363"/>
              <a:ext cx="1187450" cy="1149350"/>
            </a:xfrm>
            <a:custGeom>
              <a:avLst/>
              <a:gdLst/>
              <a:ahLst/>
              <a:cxnLst/>
              <a:rect l="0" t="0" r="r" b="b"/>
              <a:pathLst>
                <a:path w="250" h="242">
                  <a:moveTo>
                    <a:pt x="0" y="242"/>
                  </a:moveTo>
                  <a:cubicBezTo>
                    <a:pt x="88" y="166"/>
                    <a:pt x="172" y="85"/>
                    <a:pt x="25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3" name="Freeform 18">
              <a:extLst>
                <a:ext uri="{FF2B5EF4-FFF2-40B4-BE49-F238E27FC236}">
                  <a16:creationId xmlns:a16="http://schemas.microsoft.com/office/drawing/2014/main" id="{B9FC1440-933F-44FE-8D77-4827DD0F99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84188" y="0"/>
              <a:ext cx="3421063" cy="6843713"/>
            </a:xfrm>
            <a:custGeom>
              <a:avLst/>
              <a:gdLst/>
              <a:ahLst/>
              <a:cxnLst/>
              <a:rect l="0" t="0" r="r" b="b"/>
              <a:pathLst>
                <a:path w="720" h="1440">
                  <a:moveTo>
                    <a:pt x="720" y="0"/>
                  </a:moveTo>
                  <a:cubicBezTo>
                    <a:pt x="316" y="282"/>
                    <a:pt x="0" y="1018"/>
                    <a:pt x="362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4" name="Freeform 19">
              <a:extLst>
                <a:ext uri="{FF2B5EF4-FFF2-40B4-BE49-F238E27FC236}">
                  <a16:creationId xmlns:a16="http://schemas.microsoft.com/office/drawing/2014/main" id="{0F67F308-A67C-4D2E-B081-59BB31D8EC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87125" y="6049963"/>
              <a:ext cx="879475" cy="793750"/>
            </a:xfrm>
            <a:custGeom>
              <a:avLst/>
              <a:gdLst/>
              <a:ahLst/>
              <a:cxnLst/>
              <a:rect l="0" t="0" r="r" b="b"/>
              <a:pathLst>
                <a:path w="185" h="167">
                  <a:moveTo>
                    <a:pt x="0" y="167"/>
                  </a:moveTo>
                  <a:cubicBezTo>
                    <a:pt x="63" y="114"/>
                    <a:pt x="125" y="58"/>
                    <a:pt x="185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5" name="Freeform 20">
              <a:extLst>
                <a:ext uri="{FF2B5EF4-FFF2-40B4-BE49-F238E27FC236}">
                  <a16:creationId xmlns:a16="http://schemas.microsoft.com/office/drawing/2014/main" id="{80112F01-90EB-4AEC-A39C-5C6875FFB99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98488" y="0"/>
              <a:ext cx="2717800" cy="6843713"/>
            </a:xfrm>
            <a:custGeom>
              <a:avLst/>
              <a:gdLst/>
              <a:ahLst/>
              <a:cxnLst/>
              <a:rect l="0" t="0" r="r" b="b"/>
              <a:pathLst>
                <a:path w="572" h="1440">
                  <a:moveTo>
                    <a:pt x="572" y="0"/>
                  </a:moveTo>
                  <a:cubicBezTo>
                    <a:pt x="213" y="320"/>
                    <a:pt x="0" y="979"/>
                    <a:pt x="164" y="144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6" name="Freeform 21">
              <a:extLst>
                <a:ext uri="{FF2B5EF4-FFF2-40B4-BE49-F238E27FC236}">
                  <a16:creationId xmlns:a16="http://schemas.microsoft.com/office/drawing/2014/main" id="{893F6B05-90EB-4C75-A0F0-C7247553BD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61938" y="0"/>
              <a:ext cx="2944813" cy="6843713"/>
            </a:xfrm>
            <a:custGeom>
              <a:avLst/>
              <a:gdLst/>
              <a:ahLst/>
              <a:cxnLst/>
              <a:rect l="0" t="0" r="r" b="b"/>
              <a:pathLst>
                <a:path w="620" h="1440">
                  <a:moveTo>
                    <a:pt x="620" y="0"/>
                  </a:moveTo>
                  <a:cubicBezTo>
                    <a:pt x="248" y="325"/>
                    <a:pt x="0" y="960"/>
                    <a:pt x="186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7" name="Freeform 22">
              <a:extLst>
                <a:ext uri="{FF2B5EF4-FFF2-40B4-BE49-F238E27FC236}">
                  <a16:creationId xmlns:a16="http://schemas.microsoft.com/office/drawing/2014/main" id="{227B563B-E0C0-4D81-966D-B5E2DBAAE8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417513" y="0"/>
              <a:ext cx="2403475" cy="6843713"/>
            </a:xfrm>
            <a:custGeom>
              <a:avLst/>
              <a:gdLst/>
              <a:ahLst/>
              <a:cxnLst/>
              <a:rect l="0" t="0" r="r" b="b"/>
              <a:pathLst>
                <a:path w="506" h="1440">
                  <a:moveTo>
                    <a:pt x="506" y="0"/>
                  </a:moveTo>
                  <a:cubicBezTo>
                    <a:pt x="109" y="356"/>
                    <a:pt x="0" y="943"/>
                    <a:pt x="171" y="144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8" name="Freeform 23">
              <a:extLst>
                <a:ext uri="{FF2B5EF4-FFF2-40B4-BE49-F238E27FC236}">
                  <a16:creationId xmlns:a16="http://schemas.microsoft.com/office/drawing/2014/main" id="{130DF93D-D1FF-477A-BDCE-C8B01C3B47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4288" y="9525"/>
              <a:ext cx="1771650" cy="3198813"/>
            </a:xfrm>
            <a:custGeom>
              <a:avLst/>
              <a:gdLst/>
              <a:ahLst/>
              <a:cxnLst/>
              <a:rect l="0" t="0" r="r" b="b"/>
              <a:pathLst>
                <a:path w="373" h="673">
                  <a:moveTo>
                    <a:pt x="373" y="0"/>
                  </a:moveTo>
                  <a:cubicBezTo>
                    <a:pt x="175" y="183"/>
                    <a:pt x="51" y="409"/>
                    <a:pt x="0" y="67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29" name="Freeform 24">
              <a:extLst>
                <a:ext uri="{FF2B5EF4-FFF2-40B4-BE49-F238E27FC236}">
                  <a16:creationId xmlns:a16="http://schemas.microsoft.com/office/drawing/2014/main" id="{44ED67A1-C6FE-4AC8-8473-11DAC03DCD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763" y="6016625"/>
              <a:ext cx="214313" cy="827088"/>
            </a:xfrm>
            <a:custGeom>
              <a:avLst/>
              <a:gdLst/>
              <a:ahLst/>
              <a:cxnLst/>
              <a:rect l="0" t="0" r="r" b="b"/>
              <a:pathLst>
                <a:path w="45" h="174">
                  <a:moveTo>
                    <a:pt x="0" y="0"/>
                  </a:moveTo>
                  <a:cubicBezTo>
                    <a:pt x="11" y="59"/>
                    <a:pt x="26" y="118"/>
                    <a:pt x="45" y="1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130" name="Freeform 25">
              <a:extLst>
                <a:ext uri="{FF2B5EF4-FFF2-40B4-BE49-F238E27FC236}">
                  <a16:creationId xmlns:a16="http://schemas.microsoft.com/office/drawing/2014/main" id="{213A54F3-15FA-4C8F-8ABF-CE77E72196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4288" y="0"/>
              <a:ext cx="1562100" cy="2228850"/>
            </a:xfrm>
            <a:custGeom>
              <a:avLst/>
              <a:gdLst/>
              <a:ahLst/>
              <a:cxnLst/>
              <a:rect l="0" t="0" r="r" b="b"/>
              <a:pathLst>
                <a:path w="329" h="469">
                  <a:moveTo>
                    <a:pt x="329" y="0"/>
                  </a:moveTo>
                  <a:cubicBezTo>
                    <a:pt x="189" y="133"/>
                    <a:pt x="69" y="288"/>
                    <a:pt x="0" y="46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F8A7F7F-DD1A-4F41-98AC-B9CE2A620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00108" y="1699589"/>
            <a:ext cx="2755857" cy="3470421"/>
            <a:chOff x="697883" y="1816768"/>
            <a:chExt cx="3674476" cy="3470421"/>
          </a:xfrm>
        </p:grpSpPr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CEF47228-EB7C-4EBA-BE01-DA6CB241028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7883" y="1816768"/>
              <a:ext cx="3674476" cy="502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4" name="Isosceles Triangle 22">
              <a:extLst>
                <a:ext uri="{FF2B5EF4-FFF2-40B4-BE49-F238E27FC236}">
                  <a16:creationId xmlns:a16="http://schemas.microsoft.com/office/drawing/2014/main" id="{3D2FD25A-EFFD-4F5C-9258-981F5907DE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0800000">
              <a:off x="2380224" y="5014786"/>
              <a:ext cx="315988" cy="27240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DCF573BC-A06F-4036-A3A8-9D07DDE6225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04075" y="2392840"/>
              <a:ext cx="3668284" cy="26243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B4EFDE-1FD2-4EEF-8E8B-9C326E456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657" y="2415322"/>
            <a:ext cx="2588798" cy="239986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400"/>
            <a:r>
              <a:rPr lang="en-US" sz="3200" kern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ve Demo</a:t>
            </a:r>
            <a:endParaRPr lang="en-US" sz="3200" kern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Content Placeholder 2">
            <a:extLst>
              <a:ext uri="{FF2B5EF4-FFF2-40B4-BE49-F238E27FC236}">
                <a16:creationId xmlns:a16="http://schemas.microsoft.com/office/drawing/2014/main" id="{325FB5B3-2E50-465A-8C09-DBBD26C575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40480" y="804672"/>
            <a:ext cx="4711446" cy="524865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800100" indent="-457200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ultiple RPA bots with human intervention </a:t>
            </a:r>
          </a:p>
          <a:p>
            <a:pPr marL="800100" indent="-457200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ne RPA bot with ML module</a:t>
            </a:r>
          </a:p>
          <a:p>
            <a:pPr marL="800100" indent="-457200" defTabSz="9144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pdate ML module with new data and models</a:t>
            </a: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B9D9549E-6809-4E28-B541-26133596E0B8}"/>
              </a:ext>
            </a:extLst>
          </p:cNvPr>
          <p:cNvSpPr txBox="1">
            <a:spLocks/>
          </p:cNvSpPr>
          <p:nvPr/>
        </p:nvSpPr>
        <p:spPr>
          <a:xfrm>
            <a:off x="83889" y="808469"/>
            <a:ext cx="8967831" cy="63221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ask is to forecast sales for the next 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th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send reports to clients</a:t>
            </a:r>
          </a:p>
        </p:txBody>
      </p:sp>
    </p:spTree>
    <p:extLst>
      <p:ext uri="{BB962C8B-B14F-4D97-AF65-F5344CB8AC3E}">
        <p14:creationId xmlns:p14="http://schemas.microsoft.com/office/powerpoint/2010/main" val="30284868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9E604893-2A50-4930-8C66-718AAC083C7C}"/>
              </a:ext>
            </a:extLst>
          </p:cNvPr>
          <p:cNvSpPr/>
          <p:nvPr/>
        </p:nvSpPr>
        <p:spPr>
          <a:xfrm>
            <a:off x="6206280" y="1262419"/>
            <a:ext cx="2796888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D90878-0BB0-43C6-9F18-E6AC43EE9610}"/>
              </a:ext>
            </a:extLst>
          </p:cNvPr>
          <p:cNvSpPr/>
          <p:nvPr/>
        </p:nvSpPr>
        <p:spPr>
          <a:xfrm>
            <a:off x="5776080" y="2926565"/>
            <a:ext cx="1156982" cy="127470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6CA9680-47E7-4FC7-9C79-C724CCA3487B}"/>
              </a:ext>
            </a:extLst>
          </p:cNvPr>
          <p:cNvSpPr/>
          <p:nvPr/>
        </p:nvSpPr>
        <p:spPr>
          <a:xfrm>
            <a:off x="86507" y="1262419"/>
            <a:ext cx="3055285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B6A0B27-0AB5-46EA-9FCA-89751E01238E}"/>
              </a:ext>
            </a:extLst>
          </p:cNvPr>
          <p:cNvSpPr/>
          <p:nvPr/>
        </p:nvSpPr>
        <p:spPr>
          <a:xfrm>
            <a:off x="2578323" y="290802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C16B-1F34-48AA-AD5B-AC06AE992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Download from cloud">
            <a:extLst>
              <a:ext uri="{FF2B5EF4-FFF2-40B4-BE49-F238E27FC236}">
                <a16:creationId xmlns:a16="http://schemas.microsoft.com/office/drawing/2014/main" id="{B02F548C-9584-439C-A370-70B8655451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12" y="1368811"/>
            <a:ext cx="914400" cy="914400"/>
          </a:xfrm>
          <a:prstGeom prst="rect">
            <a:avLst/>
          </a:prstGeom>
        </p:spPr>
      </p:pic>
      <p:pic>
        <p:nvPicPr>
          <p:cNvPr id="11" name="Graphic 10" descr="Email">
            <a:extLst>
              <a:ext uri="{FF2B5EF4-FFF2-40B4-BE49-F238E27FC236}">
                <a16:creationId xmlns:a16="http://schemas.microsoft.com/office/drawing/2014/main" id="{E6DD9E50-5E90-4660-AB58-3C184622D8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442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5F2310A-C5B7-4EA7-A895-5353CD6CC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0508" y="43801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30591D-9C40-4CA0-9802-6E750B51C2A2}"/>
              </a:ext>
            </a:extLst>
          </p:cNvPr>
          <p:cNvSpPr txBox="1"/>
          <p:nvPr/>
        </p:nvSpPr>
        <p:spPr>
          <a:xfrm>
            <a:off x="104613" y="2283211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-house databa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3574-6144-46F0-9011-0657A3B2916C}"/>
              </a:ext>
            </a:extLst>
          </p:cNvPr>
          <p:cNvSpPr txBox="1"/>
          <p:nvPr/>
        </p:nvSpPr>
        <p:spPr>
          <a:xfrm>
            <a:off x="1596" y="3882823"/>
            <a:ext cx="15387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15A73-DA5F-4454-8699-B27D3FFEF3F1}"/>
              </a:ext>
            </a:extLst>
          </p:cNvPr>
          <p:cNvSpPr txBox="1"/>
          <p:nvPr/>
        </p:nvSpPr>
        <p:spPr>
          <a:xfrm>
            <a:off x="204691" y="5482434"/>
            <a:ext cx="9714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istorical data</a:t>
            </a:r>
          </a:p>
        </p:txBody>
      </p:sp>
      <p:pic>
        <p:nvPicPr>
          <p:cNvPr id="18" name="Graphic 17" descr="Head with Gears">
            <a:extLst>
              <a:ext uri="{FF2B5EF4-FFF2-40B4-BE49-F238E27FC236}">
                <a16:creationId xmlns:a16="http://schemas.microsoft.com/office/drawing/2014/main" id="{7A0F385F-FEC1-4077-85F1-660B2CDB2F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26940" y="3270705"/>
            <a:ext cx="914400" cy="914400"/>
          </a:xfrm>
          <a:prstGeom prst="rect">
            <a:avLst/>
          </a:prstGeom>
        </p:spPr>
      </p:pic>
      <p:pic>
        <p:nvPicPr>
          <p:cNvPr id="20" name="Graphic 19" descr="Upward trend">
            <a:extLst>
              <a:ext uri="{FF2B5EF4-FFF2-40B4-BE49-F238E27FC236}">
                <a16:creationId xmlns:a16="http://schemas.microsoft.com/office/drawing/2014/main" id="{AF0E4935-B717-4621-8BA3-45F340F860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67940" y="2356305"/>
            <a:ext cx="914400" cy="914400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7B806A9-969C-41E1-870B-BE779072C311}"/>
              </a:ext>
            </a:extLst>
          </p:cNvPr>
          <p:cNvCxnSpPr>
            <a:cxnSpLocks/>
          </p:cNvCxnSpPr>
          <p:nvPr/>
        </p:nvCxnSpPr>
        <p:spPr>
          <a:xfrm>
            <a:off x="1347683" y="1897150"/>
            <a:ext cx="1116819" cy="10820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23A434-4AF7-44D3-A576-9D10A2B08E81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1235842" y="3928826"/>
            <a:ext cx="1214871" cy="10324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0D8AAD-25CF-47FD-ABDB-FF0EE349FB05}"/>
              </a:ext>
            </a:extLst>
          </p:cNvPr>
          <p:cNvCxnSpPr>
            <a:cxnSpLocks/>
          </p:cNvCxnSpPr>
          <p:nvPr/>
        </p:nvCxnSpPr>
        <p:spPr>
          <a:xfrm>
            <a:off x="1347683" y="3365228"/>
            <a:ext cx="110303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59C6EEB-0F34-4463-AF47-A6BC5F959F07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499580" y="3365228"/>
            <a:ext cx="65332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E4F625-9AE6-4D67-9D7D-0CFC252B22FA}"/>
              </a:ext>
            </a:extLst>
          </p:cNvPr>
          <p:cNvSpPr txBox="1"/>
          <p:nvPr/>
        </p:nvSpPr>
        <p:spPr>
          <a:xfrm>
            <a:off x="4420111" y="4285610"/>
            <a:ext cx="63959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t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ecasts</a:t>
            </a:r>
          </a:p>
        </p:txBody>
      </p:sp>
      <p:pic>
        <p:nvPicPr>
          <p:cNvPr id="54" name="Graphic 53" descr="Team">
            <a:extLst>
              <a:ext uri="{FF2B5EF4-FFF2-40B4-BE49-F238E27FC236}">
                <a16:creationId xmlns:a16="http://schemas.microsoft.com/office/drawing/2014/main" id="{8220B898-FCDF-4672-8DE6-316CDDFA8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80508" y="1390327"/>
            <a:ext cx="914400" cy="914400"/>
          </a:xfrm>
          <a:prstGeom prst="rect">
            <a:avLst/>
          </a:prstGeom>
        </p:spPr>
      </p:pic>
      <p:pic>
        <p:nvPicPr>
          <p:cNvPr id="58" name="Graphic 57" descr="Hourglass">
            <a:extLst>
              <a:ext uri="{FF2B5EF4-FFF2-40B4-BE49-F238E27FC236}">
                <a16:creationId xmlns:a16="http://schemas.microsoft.com/office/drawing/2014/main" id="{23B8A642-68F0-447D-89C4-8AA86D318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1442" y="4504107"/>
            <a:ext cx="914400" cy="914400"/>
          </a:xfrm>
          <a:prstGeom prst="rect">
            <a:avLst/>
          </a:prstGeom>
        </p:spPr>
      </p:pic>
      <p:pic>
        <p:nvPicPr>
          <p:cNvPr id="60" name="Graphic 59" descr="Meeting">
            <a:extLst>
              <a:ext uri="{FF2B5EF4-FFF2-40B4-BE49-F238E27FC236}">
                <a16:creationId xmlns:a16="http://schemas.microsoft.com/office/drawing/2014/main" id="{911BC9BD-00D6-4838-BDFB-0CF774B33D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600511" y="2926565"/>
            <a:ext cx="914400" cy="914400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A0B14F30-403F-440F-A848-FE7037F97A3B}"/>
              </a:ext>
            </a:extLst>
          </p:cNvPr>
          <p:cNvSpPr txBox="1"/>
          <p:nvPr/>
        </p:nvSpPr>
        <p:spPr>
          <a:xfrm>
            <a:off x="7340177" y="2350323"/>
            <a:ext cx="139506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lient’s departmen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18EF25-5748-4334-9074-0C15BB7548EB}"/>
              </a:ext>
            </a:extLst>
          </p:cNvPr>
          <p:cNvSpPr txBox="1"/>
          <p:nvPr/>
        </p:nvSpPr>
        <p:spPr>
          <a:xfrm>
            <a:off x="7511888" y="3799964"/>
            <a:ext cx="10916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ard memb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AEAF1C-5171-4018-8506-2E210463E114}"/>
              </a:ext>
            </a:extLst>
          </p:cNvPr>
          <p:cNvSpPr txBox="1"/>
          <p:nvPr/>
        </p:nvSpPr>
        <p:spPr>
          <a:xfrm>
            <a:off x="7569171" y="5313316"/>
            <a:ext cx="937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I Dashboar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0E0FB5-7EA0-4FB2-AAA5-D15CCFAA2434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727971" y="1847527"/>
            <a:ext cx="852537" cy="1535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D54A626-1A40-456E-88C0-9453FB30453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6727971" y="3383765"/>
            <a:ext cx="8725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B720B32-032D-4E43-AD78-E6D6052C291F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727971" y="3383519"/>
            <a:ext cx="852537" cy="14538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BCBFA8A-D707-4085-8947-13833D69B565}"/>
              </a:ext>
            </a:extLst>
          </p:cNvPr>
          <p:cNvSpPr txBox="1"/>
          <p:nvPr/>
        </p:nvSpPr>
        <p:spPr>
          <a:xfrm>
            <a:off x="2546154" y="3871213"/>
            <a:ext cx="111569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ta warehouse</a:t>
            </a:r>
          </a:p>
        </p:txBody>
      </p:sp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5585A1DA-01AC-4C34-A8F3-D9D58C31E20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85180" y="2908028"/>
            <a:ext cx="914400" cy="914400"/>
          </a:xfrm>
          <a:prstGeom prst="rect">
            <a:avLst/>
          </a:prstGeom>
        </p:spPr>
      </p:pic>
      <p:pic>
        <p:nvPicPr>
          <p:cNvPr id="3076" name="Picture 4" descr="Image result for document clipart">
            <a:extLst>
              <a:ext uri="{FF2B5EF4-FFF2-40B4-BE49-F238E27FC236}">
                <a16:creationId xmlns:a16="http://schemas.microsoft.com/office/drawing/2014/main" id="{6217B0FD-54CC-4453-8378-BAEC6B8A6B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080" y="2907536"/>
            <a:ext cx="948081" cy="94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7A3EB67-3A3D-47E7-8364-9634A227CDBD}"/>
              </a:ext>
            </a:extLst>
          </p:cNvPr>
          <p:cNvSpPr txBox="1"/>
          <p:nvPr/>
        </p:nvSpPr>
        <p:spPr>
          <a:xfrm>
            <a:off x="5811988" y="3876098"/>
            <a:ext cx="9810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reate report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AA89B6B-9FDA-487F-A8B7-576518AA6D68}"/>
              </a:ext>
            </a:extLst>
          </p:cNvPr>
          <p:cNvCxnSpPr>
            <a:cxnSpLocks/>
          </p:cNvCxnSpPr>
          <p:nvPr/>
        </p:nvCxnSpPr>
        <p:spPr>
          <a:xfrm>
            <a:off x="5182340" y="3395708"/>
            <a:ext cx="5937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6EA0480-85C4-4EED-B127-9F6AE206C3E8}"/>
              </a:ext>
            </a:extLst>
          </p:cNvPr>
          <p:cNvSpPr txBox="1"/>
          <p:nvPr/>
        </p:nvSpPr>
        <p:spPr>
          <a:xfrm>
            <a:off x="4179191" y="4884061"/>
            <a:ext cx="104355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7BB4B6E-1BE3-4DFA-928D-5910A4A7C61D}"/>
              </a:ext>
            </a:extLst>
          </p:cNvPr>
          <p:cNvSpPr txBox="1">
            <a:spLocks/>
          </p:cNvSpPr>
          <p:nvPr/>
        </p:nvSpPr>
        <p:spPr>
          <a:xfrm>
            <a:off x="219583" y="720449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ales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forecasting reports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or multiple departments on a weekly basi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E9EE3C8-504D-42A5-9E3E-175C9A0C40C1}"/>
              </a:ext>
            </a:extLst>
          </p:cNvPr>
          <p:cNvSpPr txBox="1"/>
          <p:nvPr/>
        </p:nvSpPr>
        <p:spPr>
          <a:xfrm>
            <a:off x="888148" y="5893689"/>
            <a:ext cx="147098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 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931B97D-CD49-4C48-9454-800717F6D7C1}"/>
              </a:ext>
            </a:extLst>
          </p:cNvPr>
          <p:cNvSpPr txBox="1"/>
          <p:nvPr/>
        </p:nvSpPr>
        <p:spPr>
          <a:xfrm>
            <a:off x="6879319" y="5919797"/>
            <a:ext cx="147098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 2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3EF555B-54E6-44D3-A31F-D33D76D93170}"/>
              </a:ext>
            </a:extLst>
          </p:cNvPr>
          <p:cNvSpPr txBox="1">
            <a:spLocks/>
          </p:cNvSpPr>
          <p:nvPr/>
        </p:nvSpPr>
        <p:spPr>
          <a:xfrm>
            <a:off x="219583" y="217291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Multiple RPA bots with human intervention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A8C3176-0457-4CA6-B859-CFEC54C5A4AA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>
              <a:lumMod val="75000"/>
              <a:alpha val="68000"/>
            </a:schemeClr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E56BE1A-F490-417F-9844-E00C97386172}"/>
              </a:ext>
            </a:extLst>
          </p:cNvPr>
          <p:cNvSpPr/>
          <p:nvPr/>
        </p:nvSpPr>
        <p:spPr>
          <a:xfrm>
            <a:off x="1596" y="2783810"/>
            <a:ext cx="9142404" cy="13708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T IS CURRENTLY 06.2014</a:t>
            </a: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59748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e result for uni mannheim">
            <a:extLst>
              <a:ext uri="{FF2B5EF4-FFF2-40B4-BE49-F238E27FC236}">
                <a16:creationId xmlns:a16="http://schemas.microsoft.com/office/drawing/2014/main" id="{D9E6EEFD-9167-4201-B2A9-7A79879CCE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24239"/>
            <a:ext cx="2552831" cy="1085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SAP">
            <a:extLst>
              <a:ext uri="{FF2B5EF4-FFF2-40B4-BE49-F238E27FC236}">
                <a16:creationId xmlns:a16="http://schemas.microsoft.com/office/drawing/2014/main" id="{3D792842-8621-4860-84BC-B33A478FC5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82" y="4007427"/>
            <a:ext cx="1580336" cy="806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BASF">
            <a:extLst>
              <a:ext uri="{FF2B5EF4-FFF2-40B4-BE49-F238E27FC236}">
                <a16:creationId xmlns:a16="http://schemas.microsoft.com/office/drawing/2014/main" id="{641B2DCB-C517-4BF6-AF28-4E3E28ACF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3036" y="3078759"/>
            <a:ext cx="2160331" cy="149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msd sharp &amp; dohme gmbh">
            <a:extLst>
              <a:ext uri="{FF2B5EF4-FFF2-40B4-BE49-F238E27FC236}">
                <a16:creationId xmlns:a16="http://schemas.microsoft.com/office/drawing/2014/main" id="{CDBB958C-F0A9-41D2-A092-11CE04FDD7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821" y="3265419"/>
            <a:ext cx="1904619" cy="742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C9D280E8-38FE-4C98-838F-201066C67FC9}"/>
              </a:ext>
            </a:extLst>
          </p:cNvPr>
          <p:cNvSpPr txBox="1">
            <a:spLocks/>
          </p:cNvSpPr>
          <p:nvPr/>
        </p:nvSpPr>
        <p:spPr>
          <a:xfrm>
            <a:off x="219600" y="432000"/>
            <a:ext cx="8704800" cy="8532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50000"/>
              </a:lnSpc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About 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849CED-B42B-4F03-A7F3-20963A4A90A9}"/>
              </a:ext>
            </a:extLst>
          </p:cNvPr>
          <p:cNvSpPr txBox="1"/>
          <p:nvPr/>
        </p:nvSpPr>
        <p:spPr>
          <a:xfrm>
            <a:off x="360727" y="1526581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2015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58C43E-837E-4BCD-8298-36A9E9F4E5F9}"/>
              </a:ext>
            </a:extLst>
          </p:cNvPr>
          <p:cNvSpPr txBox="1"/>
          <p:nvPr/>
        </p:nvSpPr>
        <p:spPr>
          <a:xfrm>
            <a:off x="3967992" y="1526581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F950CB-B30E-4A63-B98B-708B7AC72CB1}"/>
              </a:ext>
            </a:extLst>
          </p:cNvPr>
          <p:cNvSpPr txBox="1"/>
          <p:nvPr/>
        </p:nvSpPr>
        <p:spPr>
          <a:xfrm>
            <a:off x="7019781" y="1551750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93392D9-55ED-4295-8E16-C237207522CA}"/>
              </a:ext>
            </a:extLst>
          </p:cNvPr>
          <p:cNvCxnSpPr>
            <a:cxnSpLocks/>
          </p:cNvCxnSpPr>
          <p:nvPr/>
        </p:nvCxnSpPr>
        <p:spPr>
          <a:xfrm>
            <a:off x="2340528" y="3636423"/>
            <a:ext cx="113509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4800102-1891-4B83-BE5C-378B7FA24818}"/>
              </a:ext>
            </a:extLst>
          </p:cNvPr>
          <p:cNvCxnSpPr>
            <a:cxnSpLocks/>
          </p:cNvCxnSpPr>
          <p:nvPr/>
        </p:nvCxnSpPr>
        <p:spPr>
          <a:xfrm>
            <a:off x="5845329" y="3636423"/>
            <a:ext cx="86586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33670744-49FF-43E4-A5F3-B113082EABB6}"/>
              </a:ext>
            </a:extLst>
          </p:cNvPr>
          <p:cNvSpPr txBox="1"/>
          <p:nvPr/>
        </p:nvSpPr>
        <p:spPr>
          <a:xfrm>
            <a:off x="219600" y="5041968"/>
            <a:ext cx="16881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ig Data Analyst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334117-16F0-4EA2-A1B5-63828D3C9043}"/>
              </a:ext>
            </a:extLst>
          </p:cNvPr>
          <p:cNvSpPr txBox="1"/>
          <p:nvPr/>
        </p:nvSpPr>
        <p:spPr>
          <a:xfrm>
            <a:off x="3771784" y="5041968"/>
            <a:ext cx="19005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PA Data Scientist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16204B9-B48C-4A7C-A338-EAECD0B4F99C}"/>
              </a:ext>
            </a:extLst>
          </p:cNvPr>
          <p:cNvSpPr txBox="1"/>
          <p:nvPr/>
        </p:nvSpPr>
        <p:spPr>
          <a:xfrm>
            <a:off x="7036257" y="5059148"/>
            <a:ext cx="14494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ata Scientist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28BBE46-51C6-4F78-AE8E-AD86097799EF}"/>
              </a:ext>
            </a:extLst>
          </p:cNvPr>
          <p:cNvCxnSpPr/>
          <p:nvPr/>
        </p:nvCxnSpPr>
        <p:spPr>
          <a:xfrm>
            <a:off x="360727" y="2072080"/>
            <a:ext cx="844771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19691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9E604893-2A50-4930-8C66-718AAC083C7C}"/>
              </a:ext>
            </a:extLst>
          </p:cNvPr>
          <p:cNvSpPr/>
          <p:nvPr/>
        </p:nvSpPr>
        <p:spPr>
          <a:xfrm>
            <a:off x="6206280" y="1262419"/>
            <a:ext cx="2796888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D90878-0BB0-43C6-9F18-E6AC43EE9610}"/>
              </a:ext>
            </a:extLst>
          </p:cNvPr>
          <p:cNvSpPr/>
          <p:nvPr/>
        </p:nvSpPr>
        <p:spPr>
          <a:xfrm>
            <a:off x="5776080" y="2926565"/>
            <a:ext cx="1156982" cy="127470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6CA9680-47E7-4FC7-9C79-C724CCA3487B}"/>
              </a:ext>
            </a:extLst>
          </p:cNvPr>
          <p:cNvSpPr/>
          <p:nvPr/>
        </p:nvSpPr>
        <p:spPr>
          <a:xfrm>
            <a:off x="86507" y="1262419"/>
            <a:ext cx="3055285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B6A0B27-0AB5-46EA-9FCA-89751E01238E}"/>
              </a:ext>
            </a:extLst>
          </p:cNvPr>
          <p:cNvSpPr/>
          <p:nvPr/>
        </p:nvSpPr>
        <p:spPr>
          <a:xfrm>
            <a:off x="2578323" y="290802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C16B-1F34-48AA-AD5B-AC06AE992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0</a:t>
            </a:fld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Download from cloud">
            <a:extLst>
              <a:ext uri="{FF2B5EF4-FFF2-40B4-BE49-F238E27FC236}">
                <a16:creationId xmlns:a16="http://schemas.microsoft.com/office/drawing/2014/main" id="{B02F548C-9584-439C-A370-70B8655451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12" y="1368811"/>
            <a:ext cx="914400" cy="914400"/>
          </a:xfrm>
          <a:prstGeom prst="rect">
            <a:avLst/>
          </a:prstGeom>
        </p:spPr>
      </p:pic>
      <p:pic>
        <p:nvPicPr>
          <p:cNvPr id="11" name="Graphic 10" descr="Email">
            <a:extLst>
              <a:ext uri="{FF2B5EF4-FFF2-40B4-BE49-F238E27FC236}">
                <a16:creationId xmlns:a16="http://schemas.microsoft.com/office/drawing/2014/main" id="{E6DD9E50-5E90-4660-AB58-3C184622D8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442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5F2310A-C5B7-4EA7-A895-5353CD6CC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0508" y="43801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30591D-9C40-4CA0-9802-6E750B51C2A2}"/>
              </a:ext>
            </a:extLst>
          </p:cNvPr>
          <p:cNvSpPr txBox="1"/>
          <p:nvPr/>
        </p:nvSpPr>
        <p:spPr>
          <a:xfrm>
            <a:off x="104613" y="2283211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-house databa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3574-6144-46F0-9011-0657A3B2916C}"/>
              </a:ext>
            </a:extLst>
          </p:cNvPr>
          <p:cNvSpPr txBox="1"/>
          <p:nvPr/>
        </p:nvSpPr>
        <p:spPr>
          <a:xfrm>
            <a:off x="1596" y="3882823"/>
            <a:ext cx="15387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15A73-DA5F-4454-8699-B27D3FFEF3F1}"/>
              </a:ext>
            </a:extLst>
          </p:cNvPr>
          <p:cNvSpPr txBox="1"/>
          <p:nvPr/>
        </p:nvSpPr>
        <p:spPr>
          <a:xfrm>
            <a:off x="204691" y="5482434"/>
            <a:ext cx="9714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istorical data</a:t>
            </a:r>
          </a:p>
        </p:txBody>
      </p:sp>
      <p:pic>
        <p:nvPicPr>
          <p:cNvPr id="18" name="Graphic 17" descr="Head with Gears">
            <a:extLst>
              <a:ext uri="{FF2B5EF4-FFF2-40B4-BE49-F238E27FC236}">
                <a16:creationId xmlns:a16="http://schemas.microsoft.com/office/drawing/2014/main" id="{7A0F385F-FEC1-4077-85F1-660B2CDB2F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26940" y="3270705"/>
            <a:ext cx="914400" cy="914400"/>
          </a:xfrm>
          <a:prstGeom prst="rect">
            <a:avLst/>
          </a:prstGeom>
        </p:spPr>
      </p:pic>
      <p:pic>
        <p:nvPicPr>
          <p:cNvPr id="20" name="Graphic 19" descr="Upward trend">
            <a:extLst>
              <a:ext uri="{FF2B5EF4-FFF2-40B4-BE49-F238E27FC236}">
                <a16:creationId xmlns:a16="http://schemas.microsoft.com/office/drawing/2014/main" id="{AF0E4935-B717-4621-8BA3-45F340F860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67940" y="2356305"/>
            <a:ext cx="914400" cy="914400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7B806A9-969C-41E1-870B-BE779072C311}"/>
              </a:ext>
            </a:extLst>
          </p:cNvPr>
          <p:cNvCxnSpPr>
            <a:cxnSpLocks/>
          </p:cNvCxnSpPr>
          <p:nvPr/>
        </p:nvCxnSpPr>
        <p:spPr>
          <a:xfrm>
            <a:off x="1347683" y="1897150"/>
            <a:ext cx="1116819" cy="10820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23A434-4AF7-44D3-A576-9D10A2B08E81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1235842" y="3928826"/>
            <a:ext cx="1214871" cy="10324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0D8AAD-25CF-47FD-ABDB-FF0EE349FB05}"/>
              </a:ext>
            </a:extLst>
          </p:cNvPr>
          <p:cNvCxnSpPr>
            <a:cxnSpLocks/>
          </p:cNvCxnSpPr>
          <p:nvPr/>
        </p:nvCxnSpPr>
        <p:spPr>
          <a:xfrm>
            <a:off x="1347683" y="3365228"/>
            <a:ext cx="110303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59C6EEB-0F34-4463-AF47-A6BC5F959F07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499580" y="3365228"/>
            <a:ext cx="65332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E4F625-9AE6-4D67-9D7D-0CFC252B22FA}"/>
              </a:ext>
            </a:extLst>
          </p:cNvPr>
          <p:cNvSpPr txBox="1"/>
          <p:nvPr/>
        </p:nvSpPr>
        <p:spPr>
          <a:xfrm>
            <a:off x="4420111" y="4285610"/>
            <a:ext cx="63959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t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ecasts</a:t>
            </a:r>
          </a:p>
        </p:txBody>
      </p:sp>
      <p:pic>
        <p:nvPicPr>
          <p:cNvPr id="54" name="Graphic 53" descr="Team">
            <a:extLst>
              <a:ext uri="{FF2B5EF4-FFF2-40B4-BE49-F238E27FC236}">
                <a16:creationId xmlns:a16="http://schemas.microsoft.com/office/drawing/2014/main" id="{8220B898-FCDF-4672-8DE6-316CDDFA8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80508" y="1390327"/>
            <a:ext cx="914400" cy="914400"/>
          </a:xfrm>
          <a:prstGeom prst="rect">
            <a:avLst/>
          </a:prstGeom>
        </p:spPr>
      </p:pic>
      <p:pic>
        <p:nvPicPr>
          <p:cNvPr id="58" name="Graphic 57" descr="Hourglass">
            <a:extLst>
              <a:ext uri="{FF2B5EF4-FFF2-40B4-BE49-F238E27FC236}">
                <a16:creationId xmlns:a16="http://schemas.microsoft.com/office/drawing/2014/main" id="{23B8A642-68F0-447D-89C4-8AA86D318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1442" y="4504107"/>
            <a:ext cx="914400" cy="914400"/>
          </a:xfrm>
          <a:prstGeom prst="rect">
            <a:avLst/>
          </a:prstGeom>
        </p:spPr>
      </p:pic>
      <p:pic>
        <p:nvPicPr>
          <p:cNvPr id="60" name="Graphic 59" descr="Meeting">
            <a:extLst>
              <a:ext uri="{FF2B5EF4-FFF2-40B4-BE49-F238E27FC236}">
                <a16:creationId xmlns:a16="http://schemas.microsoft.com/office/drawing/2014/main" id="{911BC9BD-00D6-4838-BDFB-0CF774B33D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600511" y="2926565"/>
            <a:ext cx="914400" cy="914400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A0B14F30-403F-440F-A848-FE7037F97A3B}"/>
              </a:ext>
            </a:extLst>
          </p:cNvPr>
          <p:cNvSpPr txBox="1"/>
          <p:nvPr/>
        </p:nvSpPr>
        <p:spPr>
          <a:xfrm>
            <a:off x="7340177" y="2350323"/>
            <a:ext cx="139506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lient’s departmen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18EF25-5748-4334-9074-0C15BB7548EB}"/>
              </a:ext>
            </a:extLst>
          </p:cNvPr>
          <p:cNvSpPr txBox="1"/>
          <p:nvPr/>
        </p:nvSpPr>
        <p:spPr>
          <a:xfrm>
            <a:off x="7511888" y="3799964"/>
            <a:ext cx="10916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ard memb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AEAF1C-5171-4018-8506-2E210463E114}"/>
              </a:ext>
            </a:extLst>
          </p:cNvPr>
          <p:cNvSpPr txBox="1"/>
          <p:nvPr/>
        </p:nvSpPr>
        <p:spPr>
          <a:xfrm>
            <a:off x="7569171" y="5313316"/>
            <a:ext cx="937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I Dashboar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0E0FB5-7EA0-4FB2-AAA5-D15CCFAA2434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727971" y="1847527"/>
            <a:ext cx="852537" cy="1535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D54A626-1A40-456E-88C0-9453FB30453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6727971" y="3383765"/>
            <a:ext cx="8725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B720B32-032D-4E43-AD78-E6D6052C291F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727971" y="3383519"/>
            <a:ext cx="852537" cy="14538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BCBFA8A-D707-4085-8947-13833D69B565}"/>
              </a:ext>
            </a:extLst>
          </p:cNvPr>
          <p:cNvSpPr txBox="1"/>
          <p:nvPr/>
        </p:nvSpPr>
        <p:spPr>
          <a:xfrm>
            <a:off x="2546154" y="3871213"/>
            <a:ext cx="111569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ta warehouse</a:t>
            </a:r>
          </a:p>
        </p:txBody>
      </p:sp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5585A1DA-01AC-4C34-A8F3-D9D58C31E20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85180" y="2908028"/>
            <a:ext cx="914400" cy="914400"/>
          </a:xfrm>
          <a:prstGeom prst="rect">
            <a:avLst/>
          </a:prstGeom>
        </p:spPr>
      </p:pic>
      <p:pic>
        <p:nvPicPr>
          <p:cNvPr id="3076" name="Picture 4" descr="Image result for document clipart">
            <a:extLst>
              <a:ext uri="{FF2B5EF4-FFF2-40B4-BE49-F238E27FC236}">
                <a16:creationId xmlns:a16="http://schemas.microsoft.com/office/drawing/2014/main" id="{6217B0FD-54CC-4453-8378-BAEC6B8A6B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080" y="2907536"/>
            <a:ext cx="948081" cy="94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7A3EB67-3A3D-47E7-8364-9634A227CDBD}"/>
              </a:ext>
            </a:extLst>
          </p:cNvPr>
          <p:cNvSpPr txBox="1"/>
          <p:nvPr/>
        </p:nvSpPr>
        <p:spPr>
          <a:xfrm>
            <a:off x="5811988" y="3876098"/>
            <a:ext cx="9810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reate report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AA89B6B-9FDA-487F-A8B7-576518AA6D68}"/>
              </a:ext>
            </a:extLst>
          </p:cNvPr>
          <p:cNvCxnSpPr>
            <a:cxnSpLocks/>
          </p:cNvCxnSpPr>
          <p:nvPr/>
        </p:nvCxnSpPr>
        <p:spPr>
          <a:xfrm>
            <a:off x="5182340" y="3395708"/>
            <a:ext cx="5937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6EA0480-85C4-4EED-B127-9F6AE206C3E8}"/>
              </a:ext>
            </a:extLst>
          </p:cNvPr>
          <p:cNvSpPr txBox="1"/>
          <p:nvPr/>
        </p:nvSpPr>
        <p:spPr>
          <a:xfrm>
            <a:off x="4179191" y="4884061"/>
            <a:ext cx="104355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7BB4B6E-1BE3-4DFA-928D-5910A4A7C61D}"/>
              </a:ext>
            </a:extLst>
          </p:cNvPr>
          <p:cNvSpPr txBox="1">
            <a:spLocks/>
          </p:cNvSpPr>
          <p:nvPr/>
        </p:nvSpPr>
        <p:spPr>
          <a:xfrm>
            <a:off x="219583" y="720449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ales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forecasting reports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or multiple departments on a weekly basi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E9EE3C8-504D-42A5-9E3E-175C9A0C40C1}"/>
              </a:ext>
            </a:extLst>
          </p:cNvPr>
          <p:cNvSpPr txBox="1"/>
          <p:nvPr/>
        </p:nvSpPr>
        <p:spPr>
          <a:xfrm>
            <a:off x="888148" y="5893689"/>
            <a:ext cx="147098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 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931B97D-CD49-4C48-9454-800717F6D7C1}"/>
              </a:ext>
            </a:extLst>
          </p:cNvPr>
          <p:cNvSpPr txBox="1"/>
          <p:nvPr/>
        </p:nvSpPr>
        <p:spPr>
          <a:xfrm>
            <a:off x="6879319" y="5919797"/>
            <a:ext cx="147098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 2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3EF555B-54E6-44D3-A31F-D33D76D93170}"/>
              </a:ext>
            </a:extLst>
          </p:cNvPr>
          <p:cNvSpPr txBox="1">
            <a:spLocks/>
          </p:cNvSpPr>
          <p:nvPr/>
        </p:nvSpPr>
        <p:spPr>
          <a:xfrm>
            <a:off x="219583" y="217291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Multiple RPA bots with human intervention</a:t>
            </a:r>
          </a:p>
        </p:txBody>
      </p:sp>
    </p:spTree>
    <p:extLst>
      <p:ext uri="{BB962C8B-B14F-4D97-AF65-F5344CB8AC3E}">
        <p14:creationId xmlns:p14="http://schemas.microsoft.com/office/powerpoint/2010/main" val="23973714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0B79C7B5-FEC3-445A-AA23-F31AA3A91FB6}"/>
              </a:ext>
            </a:extLst>
          </p:cNvPr>
          <p:cNvSpPr/>
          <p:nvPr/>
        </p:nvSpPr>
        <p:spPr>
          <a:xfrm>
            <a:off x="3190917" y="1262419"/>
            <a:ext cx="2961104" cy="4558352"/>
          </a:xfrm>
          <a:prstGeom prst="rect">
            <a:avLst/>
          </a:prstGeom>
          <a:ln>
            <a:solidFill>
              <a:srgbClr val="FF0000"/>
            </a:solidFill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8C68DD9-9175-45DE-8689-803A08F4BF9E}"/>
              </a:ext>
            </a:extLst>
          </p:cNvPr>
          <p:cNvSpPr txBox="1"/>
          <p:nvPr/>
        </p:nvSpPr>
        <p:spPr>
          <a:xfrm>
            <a:off x="3876613" y="4875120"/>
            <a:ext cx="161666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 modul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E604893-2A50-4930-8C66-718AAC083C7C}"/>
              </a:ext>
            </a:extLst>
          </p:cNvPr>
          <p:cNvSpPr/>
          <p:nvPr/>
        </p:nvSpPr>
        <p:spPr>
          <a:xfrm>
            <a:off x="6206280" y="1262419"/>
            <a:ext cx="2796888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D90878-0BB0-43C6-9F18-E6AC43EE9610}"/>
              </a:ext>
            </a:extLst>
          </p:cNvPr>
          <p:cNvSpPr/>
          <p:nvPr/>
        </p:nvSpPr>
        <p:spPr>
          <a:xfrm>
            <a:off x="5776080" y="2926565"/>
            <a:ext cx="1156982" cy="127470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6CA9680-47E7-4FC7-9C79-C724CCA3487B}"/>
              </a:ext>
            </a:extLst>
          </p:cNvPr>
          <p:cNvSpPr/>
          <p:nvPr/>
        </p:nvSpPr>
        <p:spPr>
          <a:xfrm>
            <a:off x="86507" y="1262419"/>
            <a:ext cx="3055285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B6A0B27-0AB5-46EA-9FCA-89751E01238E}"/>
              </a:ext>
            </a:extLst>
          </p:cNvPr>
          <p:cNvSpPr/>
          <p:nvPr/>
        </p:nvSpPr>
        <p:spPr>
          <a:xfrm>
            <a:off x="2578323" y="290802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C16B-1F34-48AA-AD5B-AC06AE992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Download from cloud">
            <a:extLst>
              <a:ext uri="{FF2B5EF4-FFF2-40B4-BE49-F238E27FC236}">
                <a16:creationId xmlns:a16="http://schemas.microsoft.com/office/drawing/2014/main" id="{B02F548C-9584-439C-A370-70B8655451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12" y="1368811"/>
            <a:ext cx="914400" cy="914400"/>
          </a:xfrm>
          <a:prstGeom prst="rect">
            <a:avLst/>
          </a:prstGeom>
        </p:spPr>
      </p:pic>
      <p:pic>
        <p:nvPicPr>
          <p:cNvPr id="11" name="Graphic 10" descr="Email">
            <a:extLst>
              <a:ext uri="{FF2B5EF4-FFF2-40B4-BE49-F238E27FC236}">
                <a16:creationId xmlns:a16="http://schemas.microsoft.com/office/drawing/2014/main" id="{E6DD9E50-5E90-4660-AB58-3C184622D8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442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5F2310A-C5B7-4EA7-A895-5353CD6CC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0508" y="43801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30591D-9C40-4CA0-9802-6E750B51C2A2}"/>
              </a:ext>
            </a:extLst>
          </p:cNvPr>
          <p:cNvSpPr txBox="1"/>
          <p:nvPr/>
        </p:nvSpPr>
        <p:spPr>
          <a:xfrm>
            <a:off x="104613" y="2283211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-house databa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3574-6144-46F0-9011-0657A3B2916C}"/>
              </a:ext>
            </a:extLst>
          </p:cNvPr>
          <p:cNvSpPr txBox="1"/>
          <p:nvPr/>
        </p:nvSpPr>
        <p:spPr>
          <a:xfrm>
            <a:off x="1596" y="3882823"/>
            <a:ext cx="15387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15A73-DA5F-4454-8699-B27D3FFEF3F1}"/>
              </a:ext>
            </a:extLst>
          </p:cNvPr>
          <p:cNvSpPr txBox="1"/>
          <p:nvPr/>
        </p:nvSpPr>
        <p:spPr>
          <a:xfrm>
            <a:off x="204691" y="5482434"/>
            <a:ext cx="9714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istorical data</a:t>
            </a:r>
          </a:p>
        </p:txBody>
      </p:sp>
      <p:pic>
        <p:nvPicPr>
          <p:cNvPr id="18" name="Graphic 17" descr="Head with Gears">
            <a:extLst>
              <a:ext uri="{FF2B5EF4-FFF2-40B4-BE49-F238E27FC236}">
                <a16:creationId xmlns:a16="http://schemas.microsoft.com/office/drawing/2014/main" id="{7A0F385F-FEC1-4077-85F1-660B2CDB2F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26940" y="3270705"/>
            <a:ext cx="914400" cy="914400"/>
          </a:xfrm>
          <a:prstGeom prst="rect">
            <a:avLst/>
          </a:prstGeom>
        </p:spPr>
      </p:pic>
      <p:pic>
        <p:nvPicPr>
          <p:cNvPr id="20" name="Graphic 19" descr="Upward trend">
            <a:extLst>
              <a:ext uri="{FF2B5EF4-FFF2-40B4-BE49-F238E27FC236}">
                <a16:creationId xmlns:a16="http://schemas.microsoft.com/office/drawing/2014/main" id="{AF0E4935-B717-4621-8BA3-45F340F860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67940" y="2356305"/>
            <a:ext cx="914400" cy="914400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7B806A9-969C-41E1-870B-BE779072C311}"/>
              </a:ext>
            </a:extLst>
          </p:cNvPr>
          <p:cNvCxnSpPr>
            <a:cxnSpLocks/>
          </p:cNvCxnSpPr>
          <p:nvPr/>
        </p:nvCxnSpPr>
        <p:spPr>
          <a:xfrm>
            <a:off x="1347683" y="1897150"/>
            <a:ext cx="1116819" cy="10820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23A434-4AF7-44D3-A576-9D10A2B08E81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1235842" y="3928826"/>
            <a:ext cx="1214871" cy="10324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0D8AAD-25CF-47FD-ABDB-FF0EE349FB05}"/>
              </a:ext>
            </a:extLst>
          </p:cNvPr>
          <p:cNvCxnSpPr>
            <a:cxnSpLocks/>
          </p:cNvCxnSpPr>
          <p:nvPr/>
        </p:nvCxnSpPr>
        <p:spPr>
          <a:xfrm>
            <a:off x="1347683" y="3365228"/>
            <a:ext cx="110303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59C6EEB-0F34-4463-AF47-A6BC5F959F07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499580" y="3365228"/>
            <a:ext cx="65332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E4F625-9AE6-4D67-9D7D-0CFC252B22FA}"/>
              </a:ext>
            </a:extLst>
          </p:cNvPr>
          <p:cNvSpPr txBox="1"/>
          <p:nvPr/>
        </p:nvSpPr>
        <p:spPr>
          <a:xfrm>
            <a:off x="4420111" y="4285610"/>
            <a:ext cx="63959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t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ecasts</a:t>
            </a:r>
          </a:p>
        </p:txBody>
      </p:sp>
      <p:pic>
        <p:nvPicPr>
          <p:cNvPr id="54" name="Graphic 53" descr="Team">
            <a:extLst>
              <a:ext uri="{FF2B5EF4-FFF2-40B4-BE49-F238E27FC236}">
                <a16:creationId xmlns:a16="http://schemas.microsoft.com/office/drawing/2014/main" id="{8220B898-FCDF-4672-8DE6-316CDDFA8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80508" y="1390327"/>
            <a:ext cx="914400" cy="914400"/>
          </a:xfrm>
          <a:prstGeom prst="rect">
            <a:avLst/>
          </a:prstGeom>
        </p:spPr>
      </p:pic>
      <p:pic>
        <p:nvPicPr>
          <p:cNvPr id="58" name="Graphic 57" descr="Hourglass">
            <a:extLst>
              <a:ext uri="{FF2B5EF4-FFF2-40B4-BE49-F238E27FC236}">
                <a16:creationId xmlns:a16="http://schemas.microsoft.com/office/drawing/2014/main" id="{23B8A642-68F0-447D-89C4-8AA86D318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1442" y="4504107"/>
            <a:ext cx="914400" cy="914400"/>
          </a:xfrm>
          <a:prstGeom prst="rect">
            <a:avLst/>
          </a:prstGeom>
        </p:spPr>
      </p:pic>
      <p:pic>
        <p:nvPicPr>
          <p:cNvPr id="60" name="Graphic 59" descr="Meeting">
            <a:extLst>
              <a:ext uri="{FF2B5EF4-FFF2-40B4-BE49-F238E27FC236}">
                <a16:creationId xmlns:a16="http://schemas.microsoft.com/office/drawing/2014/main" id="{911BC9BD-00D6-4838-BDFB-0CF774B33D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600511" y="2926565"/>
            <a:ext cx="914400" cy="914400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A0B14F30-403F-440F-A848-FE7037F97A3B}"/>
              </a:ext>
            </a:extLst>
          </p:cNvPr>
          <p:cNvSpPr txBox="1"/>
          <p:nvPr/>
        </p:nvSpPr>
        <p:spPr>
          <a:xfrm>
            <a:off x="7340177" y="2350323"/>
            <a:ext cx="139506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lient’s departmen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18EF25-5748-4334-9074-0C15BB7548EB}"/>
              </a:ext>
            </a:extLst>
          </p:cNvPr>
          <p:cNvSpPr txBox="1"/>
          <p:nvPr/>
        </p:nvSpPr>
        <p:spPr>
          <a:xfrm>
            <a:off x="7511888" y="3799964"/>
            <a:ext cx="10916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ard memb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AEAF1C-5171-4018-8506-2E210463E114}"/>
              </a:ext>
            </a:extLst>
          </p:cNvPr>
          <p:cNvSpPr txBox="1"/>
          <p:nvPr/>
        </p:nvSpPr>
        <p:spPr>
          <a:xfrm>
            <a:off x="7569171" y="5313316"/>
            <a:ext cx="937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I Dashboar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0E0FB5-7EA0-4FB2-AAA5-D15CCFAA2434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727971" y="1847527"/>
            <a:ext cx="852537" cy="1535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D54A626-1A40-456E-88C0-9453FB30453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6727971" y="3383765"/>
            <a:ext cx="8725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B720B32-032D-4E43-AD78-E6D6052C291F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727971" y="3383519"/>
            <a:ext cx="852537" cy="14538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BCBFA8A-D707-4085-8947-13833D69B565}"/>
              </a:ext>
            </a:extLst>
          </p:cNvPr>
          <p:cNvSpPr txBox="1"/>
          <p:nvPr/>
        </p:nvSpPr>
        <p:spPr>
          <a:xfrm>
            <a:off x="2546154" y="3871213"/>
            <a:ext cx="111569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ta warehouse</a:t>
            </a:r>
          </a:p>
        </p:txBody>
      </p:sp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5585A1DA-01AC-4C34-A8F3-D9D58C31E20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85180" y="2908028"/>
            <a:ext cx="914400" cy="914400"/>
          </a:xfrm>
          <a:prstGeom prst="rect">
            <a:avLst/>
          </a:prstGeom>
        </p:spPr>
      </p:pic>
      <p:pic>
        <p:nvPicPr>
          <p:cNvPr id="3076" name="Picture 4" descr="Image result for document clipart">
            <a:extLst>
              <a:ext uri="{FF2B5EF4-FFF2-40B4-BE49-F238E27FC236}">
                <a16:creationId xmlns:a16="http://schemas.microsoft.com/office/drawing/2014/main" id="{6217B0FD-54CC-4453-8378-BAEC6B8A6B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080" y="2907536"/>
            <a:ext cx="948081" cy="94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7A3EB67-3A3D-47E7-8364-9634A227CDBD}"/>
              </a:ext>
            </a:extLst>
          </p:cNvPr>
          <p:cNvSpPr txBox="1"/>
          <p:nvPr/>
        </p:nvSpPr>
        <p:spPr>
          <a:xfrm>
            <a:off x="5811988" y="3876098"/>
            <a:ext cx="9810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reate report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AA89B6B-9FDA-487F-A8B7-576518AA6D68}"/>
              </a:ext>
            </a:extLst>
          </p:cNvPr>
          <p:cNvCxnSpPr>
            <a:cxnSpLocks/>
          </p:cNvCxnSpPr>
          <p:nvPr/>
        </p:nvCxnSpPr>
        <p:spPr>
          <a:xfrm>
            <a:off x="5182340" y="3395708"/>
            <a:ext cx="5937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7BB4B6E-1BE3-4DFA-928D-5910A4A7C61D}"/>
              </a:ext>
            </a:extLst>
          </p:cNvPr>
          <p:cNvSpPr txBox="1">
            <a:spLocks/>
          </p:cNvSpPr>
          <p:nvPr/>
        </p:nvSpPr>
        <p:spPr>
          <a:xfrm>
            <a:off x="219583" y="720449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Sales </a:t>
            </a:r>
            <a:r>
              <a:rPr lang="en-US" sz="1800" b="1">
                <a:latin typeface="Arial" panose="020B0604020202020204" pitchFamily="34" charset="0"/>
                <a:cs typeface="Arial" panose="020B0604020202020204" pitchFamily="34" charset="0"/>
              </a:rPr>
              <a:t>forecasting reports </a:t>
            </a: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for multiple departments on a weekly basi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E9EE3C8-504D-42A5-9E3E-175C9A0C40C1}"/>
              </a:ext>
            </a:extLst>
          </p:cNvPr>
          <p:cNvSpPr txBox="1"/>
          <p:nvPr/>
        </p:nvSpPr>
        <p:spPr>
          <a:xfrm>
            <a:off x="4126039" y="6010944"/>
            <a:ext cx="121450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3715D77-3D59-4B99-8B5A-537D5B5EE939}"/>
              </a:ext>
            </a:extLst>
          </p:cNvPr>
          <p:cNvCxnSpPr>
            <a:stCxn id="47" idx="2"/>
          </p:cNvCxnSpPr>
          <p:nvPr/>
        </p:nvCxnSpPr>
        <p:spPr>
          <a:xfrm rot="16200000" flipH="1">
            <a:off x="2630208" y="4804712"/>
            <a:ext cx="405616" cy="2437733"/>
          </a:xfrm>
          <a:prstGeom prst="bentConnector2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66FB1024-CA8C-4935-887F-2C940DF15E7F}"/>
              </a:ext>
            </a:extLst>
          </p:cNvPr>
          <p:cNvCxnSpPr>
            <a:cxnSpLocks/>
            <a:stCxn id="48" idx="2"/>
          </p:cNvCxnSpPr>
          <p:nvPr/>
        </p:nvCxnSpPr>
        <p:spPr>
          <a:xfrm rot="5400000">
            <a:off x="6283456" y="4905121"/>
            <a:ext cx="405618" cy="2236919"/>
          </a:xfrm>
          <a:prstGeom prst="bentConnector2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A8F40F10-565B-4842-8DD4-65C8CDA178EF}"/>
              </a:ext>
            </a:extLst>
          </p:cNvPr>
          <p:cNvSpPr txBox="1">
            <a:spLocks/>
          </p:cNvSpPr>
          <p:nvPr/>
        </p:nvSpPr>
        <p:spPr>
          <a:xfrm>
            <a:off x="219583" y="217291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</a:t>
            </a: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PA bot with ML module</a:t>
            </a:r>
          </a:p>
        </p:txBody>
      </p:sp>
    </p:spTree>
    <p:extLst>
      <p:ext uri="{BB962C8B-B14F-4D97-AF65-F5344CB8AC3E}">
        <p14:creationId xmlns:p14="http://schemas.microsoft.com/office/powerpoint/2010/main" val="13672958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0B79C7B5-FEC3-445A-AA23-F31AA3A91FB6}"/>
              </a:ext>
            </a:extLst>
          </p:cNvPr>
          <p:cNvSpPr/>
          <p:nvPr/>
        </p:nvSpPr>
        <p:spPr>
          <a:xfrm>
            <a:off x="3190917" y="1262419"/>
            <a:ext cx="2961104" cy="4558352"/>
          </a:xfrm>
          <a:prstGeom prst="rect">
            <a:avLst/>
          </a:prstGeom>
          <a:ln>
            <a:solidFill>
              <a:srgbClr val="FF0000"/>
            </a:solidFill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8C68DD9-9175-45DE-8689-803A08F4BF9E}"/>
              </a:ext>
            </a:extLst>
          </p:cNvPr>
          <p:cNvSpPr txBox="1"/>
          <p:nvPr/>
        </p:nvSpPr>
        <p:spPr>
          <a:xfrm>
            <a:off x="3876613" y="4875120"/>
            <a:ext cx="161666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 modul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E604893-2A50-4930-8C66-718AAC083C7C}"/>
              </a:ext>
            </a:extLst>
          </p:cNvPr>
          <p:cNvSpPr/>
          <p:nvPr/>
        </p:nvSpPr>
        <p:spPr>
          <a:xfrm>
            <a:off x="6206280" y="1262419"/>
            <a:ext cx="2796888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D90878-0BB0-43C6-9F18-E6AC43EE9610}"/>
              </a:ext>
            </a:extLst>
          </p:cNvPr>
          <p:cNvSpPr/>
          <p:nvPr/>
        </p:nvSpPr>
        <p:spPr>
          <a:xfrm>
            <a:off x="5776080" y="2926565"/>
            <a:ext cx="1156982" cy="127470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6CA9680-47E7-4FC7-9C79-C724CCA3487B}"/>
              </a:ext>
            </a:extLst>
          </p:cNvPr>
          <p:cNvSpPr/>
          <p:nvPr/>
        </p:nvSpPr>
        <p:spPr>
          <a:xfrm>
            <a:off x="86507" y="1262419"/>
            <a:ext cx="3055285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B6A0B27-0AB5-46EA-9FCA-89751E01238E}"/>
              </a:ext>
            </a:extLst>
          </p:cNvPr>
          <p:cNvSpPr/>
          <p:nvPr/>
        </p:nvSpPr>
        <p:spPr>
          <a:xfrm>
            <a:off x="2578323" y="290802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C16B-1F34-48AA-AD5B-AC06AE992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2</a:t>
            </a:fld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Download from cloud">
            <a:extLst>
              <a:ext uri="{FF2B5EF4-FFF2-40B4-BE49-F238E27FC236}">
                <a16:creationId xmlns:a16="http://schemas.microsoft.com/office/drawing/2014/main" id="{B02F548C-9584-439C-A370-70B8655451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12" y="1368811"/>
            <a:ext cx="914400" cy="914400"/>
          </a:xfrm>
          <a:prstGeom prst="rect">
            <a:avLst/>
          </a:prstGeom>
        </p:spPr>
      </p:pic>
      <p:pic>
        <p:nvPicPr>
          <p:cNvPr id="11" name="Graphic 10" descr="Email">
            <a:extLst>
              <a:ext uri="{FF2B5EF4-FFF2-40B4-BE49-F238E27FC236}">
                <a16:creationId xmlns:a16="http://schemas.microsoft.com/office/drawing/2014/main" id="{E6DD9E50-5E90-4660-AB58-3C184622D8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442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5F2310A-C5B7-4EA7-A895-5353CD6CC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0508" y="43801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30591D-9C40-4CA0-9802-6E750B51C2A2}"/>
              </a:ext>
            </a:extLst>
          </p:cNvPr>
          <p:cNvSpPr txBox="1"/>
          <p:nvPr/>
        </p:nvSpPr>
        <p:spPr>
          <a:xfrm>
            <a:off x="104613" y="2283211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-house databa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3574-6144-46F0-9011-0657A3B2916C}"/>
              </a:ext>
            </a:extLst>
          </p:cNvPr>
          <p:cNvSpPr txBox="1"/>
          <p:nvPr/>
        </p:nvSpPr>
        <p:spPr>
          <a:xfrm>
            <a:off x="1596" y="3882823"/>
            <a:ext cx="15387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15A73-DA5F-4454-8699-B27D3FFEF3F1}"/>
              </a:ext>
            </a:extLst>
          </p:cNvPr>
          <p:cNvSpPr txBox="1"/>
          <p:nvPr/>
        </p:nvSpPr>
        <p:spPr>
          <a:xfrm>
            <a:off x="204691" y="5482434"/>
            <a:ext cx="9714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istorical data</a:t>
            </a:r>
          </a:p>
        </p:txBody>
      </p:sp>
      <p:pic>
        <p:nvPicPr>
          <p:cNvPr id="18" name="Graphic 17" descr="Head with Gears">
            <a:extLst>
              <a:ext uri="{FF2B5EF4-FFF2-40B4-BE49-F238E27FC236}">
                <a16:creationId xmlns:a16="http://schemas.microsoft.com/office/drawing/2014/main" id="{7A0F385F-FEC1-4077-85F1-660B2CDB2F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26940" y="3270705"/>
            <a:ext cx="914400" cy="914400"/>
          </a:xfrm>
          <a:prstGeom prst="rect">
            <a:avLst/>
          </a:prstGeom>
        </p:spPr>
      </p:pic>
      <p:pic>
        <p:nvPicPr>
          <p:cNvPr id="20" name="Graphic 19" descr="Upward trend">
            <a:extLst>
              <a:ext uri="{FF2B5EF4-FFF2-40B4-BE49-F238E27FC236}">
                <a16:creationId xmlns:a16="http://schemas.microsoft.com/office/drawing/2014/main" id="{AF0E4935-B717-4621-8BA3-45F340F860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67940" y="2356305"/>
            <a:ext cx="914400" cy="914400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7B806A9-969C-41E1-870B-BE779072C311}"/>
              </a:ext>
            </a:extLst>
          </p:cNvPr>
          <p:cNvCxnSpPr>
            <a:cxnSpLocks/>
          </p:cNvCxnSpPr>
          <p:nvPr/>
        </p:nvCxnSpPr>
        <p:spPr>
          <a:xfrm>
            <a:off x="1347683" y="1897150"/>
            <a:ext cx="1116819" cy="10820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23A434-4AF7-44D3-A576-9D10A2B08E81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1235842" y="3928826"/>
            <a:ext cx="1214871" cy="10324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0D8AAD-25CF-47FD-ABDB-FF0EE349FB05}"/>
              </a:ext>
            </a:extLst>
          </p:cNvPr>
          <p:cNvCxnSpPr>
            <a:cxnSpLocks/>
          </p:cNvCxnSpPr>
          <p:nvPr/>
        </p:nvCxnSpPr>
        <p:spPr>
          <a:xfrm>
            <a:off x="1347683" y="3365228"/>
            <a:ext cx="110303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59C6EEB-0F34-4463-AF47-A6BC5F959F07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499580" y="3365228"/>
            <a:ext cx="65332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E4F625-9AE6-4D67-9D7D-0CFC252B22FA}"/>
              </a:ext>
            </a:extLst>
          </p:cNvPr>
          <p:cNvSpPr txBox="1"/>
          <p:nvPr/>
        </p:nvSpPr>
        <p:spPr>
          <a:xfrm>
            <a:off x="4420111" y="4285610"/>
            <a:ext cx="63959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t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ecasts</a:t>
            </a:r>
          </a:p>
        </p:txBody>
      </p:sp>
      <p:pic>
        <p:nvPicPr>
          <p:cNvPr id="54" name="Graphic 53" descr="Team">
            <a:extLst>
              <a:ext uri="{FF2B5EF4-FFF2-40B4-BE49-F238E27FC236}">
                <a16:creationId xmlns:a16="http://schemas.microsoft.com/office/drawing/2014/main" id="{8220B898-FCDF-4672-8DE6-316CDDFA8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80508" y="1390327"/>
            <a:ext cx="914400" cy="914400"/>
          </a:xfrm>
          <a:prstGeom prst="rect">
            <a:avLst/>
          </a:prstGeom>
        </p:spPr>
      </p:pic>
      <p:pic>
        <p:nvPicPr>
          <p:cNvPr id="58" name="Graphic 57" descr="Hourglass">
            <a:extLst>
              <a:ext uri="{FF2B5EF4-FFF2-40B4-BE49-F238E27FC236}">
                <a16:creationId xmlns:a16="http://schemas.microsoft.com/office/drawing/2014/main" id="{23B8A642-68F0-447D-89C4-8AA86D318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1442" y="4504107"/>
            <a:ext cx="914400" cy="914400"/>
          </a:xfrm>
          <a:prstGeom prst="rect">
            <a:avLst/>
          </a:prstGeom>
        </p:spPr>
      </p:pic>
      <p:pic>
        <p:nvPicPr>
          <p:cNvPr id="60" name="Graphic 59" descr="Meeting">
            <a:extLst>
              <a:ext uri="{FF2B5EF4-FFF2-40B4-BE49-F238E27FC236}">
                <a16:creationId xmlns:a16="http://schemas.microsoft.com/office/drawing/2014/main" id="{911BC9BD-00D6-4838-BDFB-0CF774B33D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600511" y="2926565"/>
            <a:ext cx="914400" cy="914400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A0B14F30-403F-440F-A848-FE7037F97A3B}"/>
              </a:ext>
            </a:extLst>
          </p:cNvPr>
          <p:cNvSpPr txBox="1"/>
          <p:nvPr/>
        </p:nvSpPr>
        <p:spPr>
          <a:xfrm>
            <a:off x="7340177" y="2350323"/>
            <a:ext cx="139506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lient’s departmen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18EF25-5748-4334-9074-0C15BB7548EB}"/>
              </a:ext>
            </a:extLst>
          </p:cNvPr>
          <p:cNvSpPr txBox="1"/>
          <p:nvPr/>
        </p:nvSpPr>
        <p:spPr>
          <a:xfrm>
            <a:off x="7511888" y="3799964"/>
            <a:ext cx="10916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ard memb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AEAF1C-5171-4018-8506-2E210463E114}"/>
              </a:ext>
            </a:extLst>
          </p:cNvPr>
          <p:cNvSpPr txBox="1"/>
          <p:nvPr/>
        </p:nvSpPr>
        <p:spPr>
          <a:xfrm>
            <a:off x="7569171" y="5313316"/>
            <a:ext cx="937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I Dashboar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0E0FB5-7EA0-4FB2-AAA5-D15CCFAA2434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727971" y="1847527"/>
            <a:ext cx="852537" cy="1535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D54A626-1A40-456E-88C0-9453FB30453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6727971" y="3383765"/>
            <a:ext cx="8725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B720B32-032D-4E43-AD78-E6D6052C291F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727971" y="3383519"/>
            <a:ext cx="852537" cy="14538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BCBFA8A-D707-4085-8947-13833D69B565}"/>
              </a:ext>
            </a:extLst>
          </p:cNvPr>
          <p:cNvSpPr txBox="1"/>
          <p:nvPr/>
        </p:nvSpPr>
        <p:spPr>
          <a:xfrm>
            <a:off x="2546154" y="3871213"/>
            <a:ext cx="111569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ta warehouse</a:t>
            </a:r>
          </a:p>
        </p:txBody>
      </p:sp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5585A1DA-01AC-4C34-A8F3-D9D58C31E20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85180" y="2908028"/>
            <a:ext cx="914400" cy="914400"/>
          </a:xfrm>
          <a:prstGeom prst="rect">
            <a:avLst/>
          </a:prstGeom>
        </p:spPr>
      </p:pic>
      <p:pic>
        <p:nvPicPr>
          <p:cNvPr id="3076" name="Picture 4" descr="Image result for document clipart">
            <a:extLst>
              <a:ext uri="{FF2B5EF4-FFF2-40B4-BE49-F238E27FC236}">
                <a16:creationId xmlns:a16="http://schemas.microsoft.com/office/drawing/2014/main" id="{6217B0FD-54CC-4453-8378-BAEC6B8A6B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080" y="2907536"/>
            <a:ext cx="948081" cy="94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7A3EB67-3A3D-47E7-8364-9634A227CDBD}"/>
              </a:ext>
            </a:extLst>
          </p:cNvPr>
          <p:cNvSpPr txBox="1"/>
          <p:nvPr/>
        </p:nvSpPr>
        <p:spPr>
          <a:xfrm>
            <a:off x="5811988" y="3876098"/>
            <a:ext cx="9810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reate report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AA89B6B-9FDA-487F-A8B7-576518AA6D68}"/>
              </a:ext>
            </a:extLst>
          </p:cNvPr>
          <p:cNvCxnSpPr>
            <a:cxnSpLocks/>
          </p:cNvCxnSpPr>
          <p:nvPr/>
        </p:nvCxnSpPr>
        <p:spPr>
          <a:xfrm>
            <a:off x="5182340" y="3395708"/>
            <a:ext cx="5937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7BB4B6E-1BE3-4DFA-928D-5910A4A7C61D}"/>
              </a:ext>
            </a:extLst>
          </p:cNvPr>
          <p:cNvSpPr txBox="1">
            <a:spLocks/>
          </p:cNvSpPr>
          <p:nvPr/>
        </p:nvSpPr>
        <p:spPr>
          <a:xfrm>
            <a:off x="219583" y="720449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Sales </a:t>
            </a:r>
            <a:r>
              <a:rPr lang="en-US" sz="1800" b="1">
                <a:latin typeface="Arial" panose="020B0604020202020204" pitchFamily="34" charset="0"/>
                <a:cs typeface="Arial" panose="020B0604020202020204" pitchFamily="34" charset="0"/>
              </a:rPr>
              <a:t>forecasting reports </a:t>
            </a: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for multiple departments on a weekly basi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E9EE3C8-504D-42A5-9E3E-175C9A0C40C1}"/>
              </a:ext>
            </a:extLst>
          </p:cNvPr>
          <p:cNvSpPr txBox="1"/>
          <p:nvPr/>
        </p:nvSpPr>
        <p:spPr>
          <a:xfrm>
            <a:off x="4126039" y="6010944"/>
            <a:ext cx="121450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3715D77-3D59-4B99-8B5A-537D5B5EE939}"/>
              </a:ext>
            </a:extLst>
          </p:cNvPr>
          <p:cNvCxnSpPr>
            <a:stCxn id="47" idx="2"/>
          </p:cNvCxnSpPr>
          <p:nvPr/>
        </p:nvCxnSpPr>
        <p:spPr>
          <a:xfrm rot="16200000" flipH="1">
            <a:off x="2630208" y="4804712"/>
            <a:ext cx="405616" cy="2437733"/>
          </a:xfrm>
          <a:prstGeom prst="bentConnector2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66FB1024-CA8C-4935-887F-2C940DF15E7F}"/>
              </a:ext>
            </a:extLst>
          </p:cNvPr>
          <p:cNvCxnSpPr>
            <a:cxnSpLocks/>
            <a:stCxn id="48" idx="2"/>
          </p:cNvCxnSpPr>
          <p:nvPr/>
        </p:nvCxnSpPr>
        <p:spPr>
          <a:xfrm rot="5400000">
            <a:off x="6283456" y="4905121"/>
            <a:ext cx="405618" cy="2236919"/>
          </a:xfrm>
          <a:prstGeom prst="bentConnector2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A8F40F10-565B-4842-8DD4-65C8CDA178EF}"/>
              </a:ext>
            </a:extLst>
          </p:cNvPr>
          <p:cNvSpPr txBox="1">
            <a:spLocks/>
          </p:cNvSpPr>
          <p:nvPr/>
        </p:nvSpPr>
        <p:spPr>
          <a:xfrm>
            <a:off x="219583" y="217291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ML</a:t>
            </a: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e</a:t>
            </a: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new data and model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CECE14B-E4F0-4502-AD8D-6CBF161486A2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>
              <a:lumMod val="75000"/>
              <a:alpha val="68000"/>
            </a:schemeClr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C105E1C-9ACE-4BFF-B09A-3C73BDC33326}"/>
              </a:ext>
            </a:extLst>
          </p:cNvPr>
          <p:cNvSpPr/>
          <p:nvPr/>
        </p:nvSpPr>
        <p:spPr>
          <a:xfrm>
            <a:off x="1596" y="2783810"/>
            <a:ext cx="9142404" cy="13708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T IS CURRENTLY 01.2015</a:t>
            </a:r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4540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0B79C7B5-FEC3-445A-AA23-F31AA3A91FB6}"/>
              </a:ext>
            </a:extLst>
          </p:cNvPr>
          <p:cNvSpPr/>
          <p:nvPr/>
        </p:nvSpPr>
        <p:spPr>
          <a:xfrm>
            <a:off x="3190917" y="1262419"/>
            <a:ext cx="2961104" cy="4558352"/>
          </a:xfrm>
          <a:prstGeom prst="rect">
            <a:avLst/>
          </a:prstGeom>
          <a:ln>
            <a:solidFill>
              <a:srgbClr val="FF0000"/>
            </a:solidFill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8C68DD9-9175-45DE-8689-803A08F4BF9E}"/>
              </a:ext>
            </a:extLst>
          </p:cNvPr>
          <p:cNvSpPr txBox="1"/>
          <p:nvPr/>
        </p:nvSpPr>
        <p:spPr>
          <a:xfrm>
            <a:off x="3876613" y="4875120"/>
            <a:ext cx="161666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 modul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E604893-2A50-4930-8C66-718AAC083C7C}"/>
              </a:ext>
            </a:extLst>
          </p:cNvPr>
          <p:cNvSpPr/>
          <p:nvPr/>
        </p:nvSpPr>
        <p:spPr>
          <a:xfrm>
            <a:off x="6206280" y="1262419"/>
            <a:ext cx="2796888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D90878-0BB0-43C6-9F18-E6AC43EE9610}"/>
              </a:ext>
            </a:extLst>
          </p:cNvPr>
          <p:cNvSpPr/>
          <p:nvPr/>
        </p:nvSpPr>
        <p:spPr>
          <a:xfrm>
            <a:off x="5776080" y="2926565"/>
            <a:ext cx="1156982" cy="127470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6CA9680-47E7-4FC7-9C79-C724CCA3487B}"/>
              </a:ext>
            </a:extLst>
          </p:cNvPr>
          <p:cNvSpPr/>
          <p:nvPr/>
        </p:nvSpPr>
        <p:spPr>
          <a:xfrm>
            <a:off x="86507" y="1262419"/>
            <a:ext cx="3055285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B6A0B27-0AB5-46EA-9FCA-89751E01238E}"/>
              </a:ext>
            </a:extLst>
          </p:cNvPr>
          <p:cNvSpPr/>
          <p:nvPr/>
        </p:nvSpPr>
        <p:spPr>
          <a:xfrm>
            <a:off x="2578323" y="290802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C16B-1F34-48AA-AD5B-AC06AE992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Download from cloud">
            <a:extLst>
              <a:ext uri="{FF2B5EF4-FFF2-40B4-BE49-F238E27FC236}">
                <a16:creationId xmlns:a16="http://schemas.microsoft.com/office/drawing/2014/main" id="{B02F548C-9584-439C-A370-70B8655451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12" y="1368811"/>
            <a:ext cx="914400" cy="914400"/>
          </a:xfrm>
          <a:prstGeom prst="rect">
            <a:avLst/>
          </a:prstGeom>
        </p:spPr>
      </p:pic>
      <p:pic>
        <p:nvPicPr>
          <p:cNvPr id="11" name="Graphic 10" descr="Email">
            <a:extLst>
              <a:ext uri="{FF2B5EF4-FFF2-40B4-BE49-F238E27FC236}">
                <a16:creationId xmlns:a16="http://schemas.microsoft.com/office/drawing/2014/main" id="{E6DD9E50-5E90-4660-AB58-3C184622D8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442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5F2310A-C5B7-4EA7-A895-5353CD6CC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0508" y="43801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30591D-9C40-4CA0-9802-6E750B51C2A2}"/>
              </a:ext>
            </a:extLst>
          </p:cNvPr>
          <p:cNvSpPr txBox="1"/>
          <p:nvPr/>
        </p:nvSpPr>
        <p:spPr>
          <a:xfrm>
            <a:off x="104613" y="2283211"/>
            <a:ext cx="12695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-house databa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3574-6144-46F0-9011-0657A3B2916C}"/>
              </a:ext>
            </a:extLst>
          </p:cNvPr>
          <p:cNvSpPr txBox="1"/>
          <p:nvPr/>
        </p:nvSpPr>
        <p:spPr>
          <a:xfrm>
            <a:off x="1596" y="3882823"/>
            <a:ext cx="15387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15A73-DA5F-4454-8699-B27D3FFEF3F1}"/>
              </a:ext>
            </a:extLst>
          </p:cNvPr>
          <p:cNvSpPr txBox="1"/>
          <p:nvPr/>
        </p:nvSpPr>
        <p:spPr>
          <a:xfrm>
            <a:off x="204691" y="5482434"/>
            <a:ext cx="97142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istorical data</a:t>
            </a:r>
          </a:p>
        </p:txBody>
      </p:sp>
      <p:pic>
        <p:nvPicPr>
          <p:cNvPr id="18" name="Graphic 17" descr="Head with Gears">
            <a:extLst>
              <a:ext uri="{FF2B5EF4-FFF2-40B4-BE49-F238E27FC236}">
                <a16:creationId xmlns:a16="http://schemas.microsoft.com/office/drawing/2014/main" id="{7A0F385F-FEC1-4077-85F1-660B2CDB2F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226940" y="3270705"/>
            <a:ext cx="914400" cy="914400"/>
          </a:xfrm>
          <a:prstGeom prst="rect">
            <a:avLst/>
          </a:prstGeom>
        </p:spPr>
      </p:pic>
      <p:pic>
        <p:nvPicPr>
          <p:cNvPr id="20" name="Graphic 19" descr="Upward trend">
            <a:extLst>
              <a:ext uri="{FF2B5EF4-FFF2-40B4-BE49-F238E27FC236}">
                <a16:creationId xmlns:a16="http://schemas.microsoft.com/office/drawing/2014/main" id="{AF0E4935-B717-4621-8BA3-45F340F860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67940" y="2356305"/>
            <a:ext cx="914400" cy="914400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7B806A9-969C-41E1-870B-BE779072C311}"/>
              </a:ext>
            </a:extLst>
          </p:cNvPr>
          <p:cNvCxnSpPr>
            <a:cxnSpLocks/>
          </p:cNvCxnSpPr>
          <p:nvPr/>
        </p:nvCxnSpPr>
        <p:spPr>
          <a:xfrm>
            <a:off x="1347683" y="1897150"/>
            <a:ext cx="1116819" cy="10820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23A434-4AF7-44D3-A576-9D10A2B08E81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1235842" y="3928826"/>
            <a:ext cx="1214871" cy="10324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0D8AAD-25CF-47FD-ABDB-FF0EE349FB05}"/>
              </a:ext>
            </a:extLst>
          </p:cNvPr>
          <p:cNvCxnSpPr>
            <a:cxnSpLocks/>
          </p:cNvCxnSpPr>
          <p:nvPr/>
        </p:nvCxnSpPr>
        <p:spPr>
          <a:xfrm>
            <a:off x="1347683" y="3365228"/>
            <a:ext cx="110303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59C6EEB-0F34-4463-AF47-A6BC5F959F07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499580" y="3365228"/>
            <a:ext cx="65332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E4F625-9AE6-4D67-9D7D-0CFC252B22FA}"/>
              </a:ext>
            </a:extLst>
          </p:cNvPr>
          <p:cNvSpPr txBox="1"/>
          <p:nvPr/>
        </p:nvSpPr>
        <p:spPr>
          <a:xfrm>
            <a:off x="4420111" y="4285610"/>
            <a:ext cx="63959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enerate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recasts</a:t>
            </a:r>
          </a:p>
        </p:txBody>
      </p:sp>
      <p:pic>
        <p:nvPicPr>
          <p:cNvPr id="54" name="Graphic 53" descr="Team">
            <a:extLst>
              <a:ext uri="{FF2B5EF4-FFF2-40B4-BE49-F238E27FC236}">
                <a16:creationId xmlns:a16="http://schemas.microsoft.com/office/drawing/2014/main" id="{8220B898-FCDF-4672-8DE6-316CDDFA8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80508" y="1390327"/>
            <a:ext cx="914400" cy="914400"/>
          </a:xfrm>
          <a:prstGeom prst="rect">
            <a:avLst/>
          </a:prstGeom>
        </p:spPr>
      </p:pic>
      <p:pic>
        <p:nvPicPr>
          <p:cNvPr id="58" name="Graphic 57" descr="Hourglass">
            <a:extLst>
              <a:ext uri="{FF2B5EF4-FFF2-40B4-BE49-F238E27FC236}">
                <a16:creationId xmlns:a16="http://schemas.microsoft.com/office/drawing/2014/main" id="{23B8A642-68F0-447D-89C4-8AA86D318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1442" y="4504107"/>
            <a:ext cx="914400" cy="914400"/>
          </a:xfrm>
          <a:prstGeom prst="rect">
            <a:avLst/>
          </a:prstGeom>
        </p:spPr>
      </p:pic>
      <p:pic>
        <p:nvPicPr>
          <p:cNvPr id="60" name="Graphic 59" descr="Meeting">
            <a:extLst>
              <a:ext uri="{FF2B5EF4-FFF2-40B4-BE49-F238E27FC236}">
                <a16:creationId xmlns:a16="http://schemas.microsoft.com/office/drawing/2014/main" id="{911BC9BD-00D6-4838-BDFB-0CF774B33D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600511" y="2926565"/>
            <a:ext cx="914400" cy="914400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A0B14F30-403F-440F-A848-FE7037F97A3B}"/>
              </a:ext>
            </a:extLst>
          </p:cNvPr>
          <p:cNvSpPr txBox="1"/>
          <p:nvPr/>
        </p:nvSpPr>
        <p:spPr>
          <a:xfrm>
            <a:off x="7340177" y="2350323"/>
            <a:ext cx="139506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lient’s departmen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18EF25-5748-4334-9074-0C15BB7548EB}"/>
              </a:ext>
            </a:extLst>
          </p:cNvPr>
          <p:cNvSpPr txBox="1"/>
          <p:nvPr/>
        </p:nvSpPr>
        <p:spPr>
          <a:xfrm>
            <a:off x="7511888" y="3799964"/>
            <a:ext cx="10916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oard memb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AEAF1C-5171-4018-8506-2E210463E114}"/>
              </a:ext>
            </a:extLst>
          </p:cNvPr>
          <p:cNvSpPr txBox="1"/>
          <p:nvPr/>
        </p:nvSpPr>
        <p:spPr>
          <a:xfrm>
            <a:off x="7569171" y="5313316"/>
            <a:ext cx="93775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I Dashboar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0E0FB5-7EA0-4FB2-AAA5-D15CCFAA2434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6727971" y="1847527"/>
            <a:ext cx="852537" cy="15359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D54A626-1A40-456E-88C0-9453FB30453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6727971" y="3383765"/>
            <a:ext cx="8725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B720B32-032D-4E43-AD78-E6D6052C291F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6727971" y="3383519"/>
            <a:ext cx="852537" cy="145381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BCBFA8A-D707-4085-8947-13833D69B565}"/>
              </a:ext>
            </a:extLst>
          </p:cNvPr>
          <p:cNvSpPr txBox="1"/>
          <p:nvPr/>
        </p:nvSpPr>
        <p:spPr>
          <a:xfrm>
            <a:off x="2546154" y="3871213"/>
            <a:ext cx="1115690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ta warehouse</a:t>
            </a:r>
          </a:p>
        </p:txBody>
      </p:sp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5585A1DA-01AC-4C34-A8F3-D9D58C31E20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85180" y="2908028"/>
            <a:ext cx="914400" cy="914400"/>
          </a:xfrm>
          <a:prstGeom prst="rect">
            <a:avLst/>
          </a:prstGeom>
        </p:spPr>
      </p:pic>
      <p:pic>
        <p:nvPicPr>
          <p:cNvPr id="3076" name="Picture 4" descr="Image result for document clipart">
            <a:extLst>
              <a:ext uri="{FF2B5EF4-FFF2-40B4-BE49-F238E27FC236}">
                <a16:creationId xmlns:a16="http://schemas.microsoft.com/office/drawing/2014/main" id="{6217B0FD-54CC-4453-8378-BAEC6B8A6B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080" y="2907536"/>
            <a:ext cx="948081" cy="94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7A3EB67-3A3D-47E7-8364-9634A227CDBD}"/>
              </a:ext>
            </a:extLst>
          </p:cNvPr>
          <p:cNvSpPr txBox="1"/>
          <p:nvPr/>
        </p:nvSpPr>
        <p:spPr>
          <a:xfrm>
            <a:off x="5811988" y="3876098"/>
            <a:ext cx="9810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reate report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AA89B6B-9FDA-487F-A8B7-576518AA6D68}"/>
              </a:ext>
            </a:extLst>
          </p:cNvPr>
          <p:cNvCxnSpPr>
            <a:cxnSpLocks/>
          </p:cNvCxnSpPr>
          <p:nvPr/>
        </p:nvCxnSpPr>
        <p:spPr>
          <a:xfrm>
            <a:off x="5182340" y="3395708"/>
            <a:ext cx="59374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7BB4B6E-1BE3-4DFA-928D-5910A4A7C61D}"/>
              </a:ext>
            </a:extLst>
          </p:cNvPr>
          <p:cNvSpPr txBox="1">
            <a:spLocks/>
          </p:cNvSpPr>
          <p:nvPr/>
        </p:nvSpPr>
        <p:spPr>
          <a:xfrm>
            <a:off x="219583" y="720449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Font typeface="Arial" panose="020B0604020202020204" pitchFamily="34" charset="0"/>
              <a:buNone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Sales </a:t>
            </a:r>
            <a:r>
              <a:rPr lang="en-US" sz="1800" b="1">
                <a:latin typeface="Arial" panose="020B0604020202020204" pitchFamily="34" charset="0"/>
                <a:cs typeface="Arial" panose="020B0604020202020204" pitchFamily="34" charset="0"/>
              </a:rPr>
              <a:t>forecasting reports </a:t>
            </a: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for multiple departments on a weekly basi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E9EE3C8-504D-42A5-9E3E-175C9A0C40C1}"/>
              </a:ext>
            </a:extLst>
          </p:cNvPr>
          <p:cNvSpPr txBox="1"/>
          <p:nvPr/>
        </p:nvSpPr>
        <p:spPr>
          <a:xfrm>
            <a:off x="4126039" y="6010944"/>
            <a:ext cx="121450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C3715D77-3D59-4B99-8B5A-537D5B5EE939}"/>
              </a:ext>
            </a:extLst>
          </p:cNvPr>
          <p:cNvCxnSpPr>
            <a:stCxn id="47" idx="2"/>
          </p:cNvCxnSpPr>
          <p:nvPr/>
        </p:nvCxnSpPr>
        <p:spPr>
          <a:xfrm rot="16200000" flipH="1">
            <a:off x="2630208" y="4804712"/>
            <a:ext cx="405616" cy="2437733"/>
          </a:xfrm>
          <a:prstGeom prst="bentConnector2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66FB1024-CA8C-4935-887F-2C940DF15E7F}"/>
              </a:ext>
            </a:extLst>
          </p:cNvPr>
          <p:cNvCxnSpPr>
            <a:cxnSpLocks/>
            <a:stCxn id="48" idx="2"/>
          </p:cNvCxnSpPr>
          <p:nvPr/>
        </p:nvCxnSpPr>
        <p:spPr>
          <a:xfrm rot="5400000">
            <a:off x="6283456" y="4905121"/>
            <a:ext cx="405618" cy="2236919"/>
          </a:xfrm>
          <a:prstGeom prst="bentConnector2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A8F40F10-565B-4842-8DD4-65C8CDA178EF}"/>
              </a:ext>
            </a:extLst>
          </p:cNvPr>
          <p:cNvSpPr txBox="1">
            <a:spLocks/>
          </p:cNvSpPr>
          <p:nvPr/>
        </p:nvSpPr>
        <p:spPr>
          <a:xfrm>
            <a:off x="219583" y="217291"/>
            <a:ext cx="8704834" cy="3101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ML</a:t>
            </a: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e</a:t>
            </a: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new data and model</a:t>
            </a:r>
          </a:p>
        </p:txBody>
      </p:sp>
    </p:spTree>
    <p:extLst>
      <p:ext uri="{BB962C8B-B14F-4D97-AF65-F5344CB8AC3E}">
        <p14:creationId xmlns:p14="http://schemas.microsoft.com/office/powerpoint/2010/main" val="172638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2">
            <a:extLst>
              <a:ext uri="{FF2B5EF4-FFF2-40B4-BE49-F238E27FC236}">
                <a16:creationId xmlns:a16="http://schemas.microsoft.com/office/drawing/2014/main" id="{C0B27210-D0CA-4654-B3E3-9ABB4F178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C6DAD9-90BB-432C-BC2A-304C50912A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59971" y="1783959"/>
            <a:ext cx="3483937" cy="2889114"/>
          </a:xfrm>
        </p:spPr>
        <p:txBody>
          <a:bodyPr anchor="b">
            <a:normAutofit/>
          </a:bodyPr>
          <a:lstStyle/>
          <a:p>
            <a:pPr algn="l"/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  <a:endParaRPr lang="de-DE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1671EAF-2934-4800-B9BA-3350316599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9970" y="4750893"/>
            <a:ext cx="3483937" cy="1147863"/>
          </a:xfrm>
        </p:spPr>
        <p:txBody>
          <a:bodyPr anchor="t">
            <a:normAutofit/>
          </a:bodyPr>
          <a:lstStyle/>
          <a:p>
            <a:pPr algn="l"/>
            <a:r>
              <a:rPr lang="en-US" sz="1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ng Nguyen</a:t>
            </a:r>
            <a:endParaRPr lang="de-DE" sz="17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: Shape 34">
            <a:extLst>
              <a:ext uri="{FF2B5EF4-FFF2-40B4-BE49-F238E27FC236}">
                <a16:creationId xmlns:a16="http://schemas.microsoft.com/office/drawing/2014/main" id="{1DB7C82F-AB7E-4F0C-B829-FA1B9C4151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4629586" cy="6858000"/>
          </a:xfrm>
          <a:custGeom>
            <a:avLst/>
            <a:gdLst>
              <a:gd name="connsiteX0" fmla="*/ 6172782 w 6172782"/>
              <a:gd name="connsiteY0" fmla="*/ 0 h 6858000"/>
              <a:gd name="connsiteX1" fmla="*/ 69075 w 6172782"/>
              <a:gd name="connsiteY1" fmla="*/ 0 h 6858000"/>
              <a:gd name="connsiteX2" fmla="*/ 35131 w 6172782"/>
              <a:gd name="connsiteY2" fmla="*/ 267128 h 6858000"/>
              <a:gd name="connsiteX3" fmla="*/ 0 w 6172782"/>
              <a:gd name="connsiteY3" fmla="*/ 962845 h 6858000"/>
              <a:gd name="connsiteX4" fmla="*/ 3276103 w 6172782"/>
              <a:gd name="connsiteY4" fmla="*/ 6782205 h 6858000"/>
              <a:gd name="connsiteX5" fmla="*/ 3407923 w 6172782"/>
              <a:gd name="connsiteY5" fmla="*/ 6858000 h 6858000"/>
              <a:gd name="connsiteX6" fmla="*/ 6172782 w 617278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72782" h="6858000">
                <a:moveTo>
                  <a:pt x="6172782" y="0"/>
                </a:moveTo>
                <a:lnTo>
                  <a:pt x="69075" y="0"/>
                </a:lnTo>
                <a:lnTo>
                  <a:pt x="35131" y="267128"/>
                </a:lnTo>
                <a:cubicBezTo>
                  <a:pt x="11901" y="495874"/>
                  <a:pt x="0" y="727970"/>
                  <a:pt x="0" y="962845"/>
                </a:cubicBezTo>
                <a:cubicBezTo>
                  <a:pt x="0" y="3429034"/>
                  <a:pt x="1312002" y="5588789"/>
                  <a:pt x="3276103" y="6782205"/>
                </a:cubicBezTo>
                <a:lnTo>
                  <a:pt x="3407923" y="6858000"/>
                </a:lnTo>
                <a:lnTo>
                  <a:pt x="6172782" y="685800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reeform: Shape 36">
            <a:extLst>
              <a:ext uri="{FF2B5EF4-FFF2-40B4-BE49-F238E27FC236}">
                <a16:creationId xmlns:a16="http://schemas.microsoft.com/office/drawing/2014/main" id="{70B66945-4967-4040-926D-DCA44313CD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518115" cy="6858000"/>
          </a:xfrm>
          <a:custGeom>
            <a:avLst/>
            <a:gdLst>
              <a:gd name="connsiteX0" fmla="*/ 0 w 6024154"/>
              <a:gd name="connsiteY0" fmla="*/ 0 h 6858000"/>
              <a:gd name="connsiteX1" fmla="*/ 5953780 w 6024154"/>
              <a:gd name="connsiteY1" fmla="*/ 0 h 6858000"/>
              <a:gd name="connsiteX2" fmla="*/ 5989880 w 6024154"/>
              <a:gd name="connsiteY2" fmla="*/ 284091 h 6858000"/>
              <a:gd name="connsiteX3" fmla="*/ 6024154 w 6024154"/>
              <a:gd name="connsiteY3" fmla="*/ 962844 h 6858000"/>
              <a:gd name="connsiteX4" fmla="*/ 2549934 w 6024154"/>
              <a:gd name="connsiteY4" fmla="*/ 6800152 h 6858000"/>
              <a:gd name="connsiteX5" fmla="*/ 2436987 w 6024154"/>
              <a:gd name="connsiteY5" fmla="*/ 6858000 h 6858000"/>
              <a:gd name="connsiteX6" fmla="*/ 0 w 6024154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4154" h="6858000">
                <a:moveTo>
                  <a:pt x="0" y="0"/>
                </a:moveTo>
                <a:lnTo>
                  <a:pt x="5953780" y="0"/>
                </a:lnTo>
                <a:lnTo>
                  <a:pt x="5989880" y="284091"/>
                </a:lnTo>
                <a:cubicBezTo>
                  <a:pt x="6012544" y="507260"/>
                  <a:pt x="6024154" y="733696"/>
                  <a:pt x="6024154" y="962844"/>
                </a:cubicBezTo>
                <a:cubicBezTo>
                  <a:pt x="6024154" y="3483472"/>
                  <a:pt x="4619336" y="5675986"/>
                  <a:pt x="2549934" y="6800152"/>
                </a:cubicBezTo>
                <a:lnTo>
                  <a:pt x="243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Smiling Face with No Fill">
            <a:extLst>
              <a:ext uri="{FF2B5EF4-FFF2-40B4-BE49-F238E27FC236}">
                <a16:creationId xmlns:a16="http://schemas.microsoft.com/office/drawing/2014/main" id="{218102E1-907C-40A0-AC7B-B26FEF441A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4536" y="1226973"/>
            <a:ext cx="3035882" cy="3035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449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 79">
            <a:extLst>
              <a:ext uri="{FF2B5EF4-FFF2-40B4-BE49-F238E27FC236}">
                <a16:creationId xmlns:a16="http://schemas.microsoft.com/office/drawing/2014/main" id="{26DD344A-8BDA-417D-941A-1D74D881E55C}"/>
              </a:ext>
            </a:extLst>
          </p:cNvPr>
          <p:cNvSpPr/>
          <p:nvPr/>
        </p:nvSpPr>
        <p:spPr>
          <a:xfrm>
            <a:off x="86507" y="1262419"/>
            <a:ext cx="3289243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8254A6AC-0A90-40A7-A535-1D271D710C96}"/>
              </a:ext>
            </a:extLst>
          </p:cNvPr>
          <p:cNvSpPr/>
          <p:nvPr/>
        </p:nvSpPr>
        <p:spPr>
          <a:xfrm>
            <a:off x="3430989" y="1262419"/>
            <a:ext cx="2961104" cy="4558352"/>
          </a:xfrm>
          <a:prstGeom prst="rect">
            <a:avLst/>
          </a:prstGeom>
          <a:ln>
            <a:solidFill>
              <a:srgbClr val="FF0000"/>
            </a:solidFill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B6A0B27-0AB5-46EA-9FCA-89751E01238E}"/>
              </a:ext>
            </a:extLst>
          </p:cNvPr>
          <p:cNvSpPr/>
          <p:nvPr/>
        </p:nvSpPr>
        <p:spPr>
          <a:xfrm>
            <a:off x="2939050" y="290802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8F8A74A-44D9-4B07-AF34-11465CFDCE52}"/>
              </a:ext>
            </a:extLst>
          </p:cNvPr>
          <p:cNvSpPr/>
          <p:nvPr/>
        </p:nvSpPr>
        <p:spPr>
          <a:xfrm>
            <a:off x="6447858" y="1262419"/>
            <a:ext cx="2555309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EF1611-2EB4-4A5E-8597-9E3BB0487B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9583" y="720449"/>
            <a:ext cx="8704834" cy="310128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n-US" dirty="0">
                <a:solidFill>
                  <a:srgbClr val="FF0000"/>
                </a:solidFill>
              </a:rPr>
              <a:t>A.</a:t>
            </a:r>
            <a:r>
              <a:rPr lang="en-US" dirty="0"/>
              <a:t> Give out </a:t>
            </a:r>
            <a:r>
              <a:rPr lang="en-US" b="1" dirty="0"/>
              <a:t>revenue forecasting reports </a:t>
            </a:r>
            <a:r>
              <a:rPr lang="en-US" dirty="0"/>
              <a:t>for multiple departments occasional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C16B-1F34-48AA-AD5B-AC06AE9923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9" name="Graphic 8" descr="Download from cloud">
            <a:extLst>
              <a:ext uri="{FF2B5EF4-FFF2-40B4-BE49-F238E27FC236}">
                <a16:creationId xmlns:a16="http://schemas.microsoft.com/office/drawing/2014/main" id="{B02F548C-9584-439C-A370-70B8655451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2739" y="1368811"/>
            <a:ext cx="914400" cy="914400"/>
          </a:xfrm>
          <a:prstGeom prst="rect">
            <a:avLst/>
          </a:prstGeom>
        </p:spPr>
      </p:pic>
      <p:pic>
        <p:nvPicPr>
          <p:cNvPr id="11" name="Graphic 10" descr="Email">
            <a:extLst>
              <a:ext uri="{FF2B5EF4-FFF2-40B4-BE49-F238E27FC236}">
                <a16:creationId xmlns:a16="http://schemas.microsoft.com/office/drawing/2014/main" id="{E6DD9E50-5E90-4660-AB58-3C184622D8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2169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5F2310A-C5B7-4EA7-A895-5353CD6CC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19781" y="4380133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30591D-9C40-4CA0-9802-6E750B51C2A2}"/>
              </a:ext>
            </a:extLst>
          </p:cNvPr>
          <p:cNvSpPr txBox="1"/>
          <p:nvPr/>
        </p:nvSpPr>
        <p:spPr>
          <a:xfrm>
            <a:off x="465340" y="2283211"/>
            <a:ext cx="140262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In-house system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33574-6144-46F0-9011-0657A3B2916C}"/>
              </a:ext>
            </a:extLst>
          </p:cNvPr>
          <p:cNvSpPr txBox="1"/>
          <p:nvPr/>
        </p:nvSpPr>
        <p:spPr>
          <a:xfrm>
            <a:off x="161571" y="3884088"/>
            <a:ext cx="201016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15A73-DA5F-4454-8699-B27D3FFEF3F1}"/>
              </a:ext>
            </a:extLst>
          </p:cNvPr>
          <p:cNvSpPr txBox="1"/>
          <p:nvPr/>
        </p:nvSpPr>
        <p:spPr>
          <a:xfrm>
            <a:off x="565418" y="5377243"/>
            <a:ext cx="113492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Historical data</a:t>
            </a:r>
          </a:p>
        </p:txBody>
      </p:sp>
      <p:pic>
        <p:nvPicPr>
          <p:cNvPr id="18" name="Graphic 17" descr="Head with Gears">
            <a:extLst>
              <a:ext uri="{FF2B5EF4-FFF2-40B4-BE49-F238E27FC236}">
                <a16:creationId xmlns:a16="http://schemas.microsoft.com/office/drawing/2014/main" id="{7A0F385F-FEC1-4077-85F1-660B2CDB2F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55040" y="3365228"/>
            <a:ext cx="914400" cy="914400"/>
          </a:xfrm>
          <a:prstGeom prst="rect">
            <a:avLst/>
          </a:prstGeom>
        </p:spPr>
      </p:pic>
      <p:pic>
        <p:nvPicPr>
          <p:cNvPr id="20" name="Graphic 19" descr="Upward trend">
            <a:extLst>
              <a:ext uri="{FF2B5EF4-FFF2-40B4-BE49-F238E27FC236}">
                <a16:creationId xmlns:a16="http://schemas.microsoft.com/office/drawing/2014/main" id="{AF0E4935-B717-4621-8BA3-45F340F860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796040" y="2450828"/>
            <a:ext cx="914400" cy="914400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7B806A9-969C-41E1-870B-BE779072C311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1617139" y="1826011"/>
            <a:ext cx="1281224" cy="116077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723A434-4AF7-44D3-A576-9D10A2B08E81}"/>
              </a:ext>
            </a:extLst>
          </p:cNvPr>
          <p:cNvCxnSpPr>
            <a:cxnSpLocks/>
            <a:stCxn id="58" idx="3"/>
          </p:cNvCxnSpPr>
          <p:nvPr/>
        </p:nvCxnSpPr>
        <p:spPr>
          <a:xfrm flipV="1">
            <a:off x="1596569" y="3823635"/>
            <a:ext cx="1214871" cy="103248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A90D8AAD-25CF-47FD-ABDB-FF0EE349FB05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1596569" y="3365228"/>
            <a:ext cx="121487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59C6EEB-0F34-4463-AF47-A6BC5F959F07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860307" y="3365228"/>
            <a:ext cx="81373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1FE4F625-9AE6-4D67-9D7D-0CFC252B22FA}"/>
              </a:ext>
            </a:extLst>
          </p:cNvPr>
          <p:cNvSpPr txBox="1"/>
          <p:nvPr/>
        </p:nvSpPr>
        <p:spPr>
          <a:xfrm>
            <a:off x="4825582" y="4380133"/>
            <a:ext cx="88485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Generating</a:t>
            </a:r>
            <a:br>
              <a:rPr lang="en-US" sz="1400" dirty="0"/>
            </a:br>
            <a:r>
              <a:rPr lang="en-US" sz="1400" dirty="0"/>
              <a:t>forecasts</a:t>
            </a:r>
          </a:p>
        </p:txBody>
      </p:sp>
      <p:pic>
        <p:nvPicPr>
          <p:cNvPr id="54" name="Graphic 53" descr="Team">
            <a:extLst>
              <a:ext uri="{FF2B5EF4-FFF2-40B4-BE49-F238E27FC236}">
                <a16:creationId xmlns:a16="http://schemas.microsoft.com/office/drawing/2014/main" id="{8220B898-FCDF-4672-8DE6-316CDDFA8A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19781" y="1390327"/>
            <a:ext cx="914400" cy="914400"/>
          </a:xfrm>
          <a:prstGeom prst="rect">
            <a:avLst/>
          </a:prstGeom>
        </p:spPr>
      </p:pic>
      <p:pic>
        <p:nvPicPr>
          <p:cNvPr id="58" name="Graphic 57" descr="Hourglass">
            <a:extLst>
              <a:ext uri="{FF2B5EF4-FFF2-40B4-BE49-F238E27FC236}">
                <a16:creationId xmlns:a16="http://schemas.microsoft.com/office/drawing/2014/main" id="{23B8A642-68F0-447D-89C4-8AA86D318E5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2169" y="4398916"/>
            <a:ext cx="914400" cy="914400"/>
          </a:xfrm>
          <a:prstGeom prst="rect">
            <a:avLst/>
          </a:prstGeom>
        </p:spPr>
      </p:pic>
      <p:pic>
        <p:nvPicPr>
          <p:cNvPr id="60" name="Graphic 59" descr="Meeting">
            <a:extLst>
              <a:ext uri="{FF2B5EF4-FFF2-40B4-BE49-F238E27FC236}">
                <a16:creationId xmlns:a16="http://schemas.microsoft.com/office/drawing/2014/main" id="{911BC9BD-00D6-4838-BDFB-0CF774B33D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239784" y="2926565"/>
            <a:ext cx="914400" cy="914400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A0B14F30-403F-440F-A848-FE7037F97A3B}"/>
              </a:ext>
            </a:extLst>
          </p:cNvPr>
          <p:cNvSpPr txBox="1"/>
          <p:nvPr/>
        </p:nvSpPr>
        <p:spPr>
          <a:xfrm>
            <a:off x="6862688" y="2350323"/>
            <a:ext cx="162858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Client’s department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18EF25-5748-4334-9074-0C15BB7548EB}"/>
              </a:ext>
            </a:extLst>
          </p:cNvPr>
          <p:cNvSpPr txBox="1"/>
          <p:nvPr/>
        </p:nvSpPr>
        <p:spPr>
          <a:xfrm>
            <a:off x="7060592" y="3799964"/>
            <a:ext cx="127278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Board member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6AEAF1C-5171-4018-8506-2E210463E114}"/>
              </a:ext>
            </a:extLst>
          </p:cNvPr>
          <p:cNvSpPr txBox="1"/>
          <p:nvPr/>
        </p:nvSpPr>
        <p:spPr>
          <a:xfrm>
            <a:off x="7129897" y="5313316"/>
            <a:ext cx="10948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BI Dashboard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6F0E0FB5-7EA0-4FB2-AAA5-D15CCFAA2434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5799359" y="1847527"/>
            <a:ext cx="1420422" cy="153576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4D54A626-1A40-456E-88C0-9453FB30453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5794279" y="3383765"/>
            <a:ext cx="144550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0B720B32-032D-4E43-AD78-E6D6052C291F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5799359" y="3384012"/>
            <a:ext cx="1420422" cy="145332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B08B1490-E70E-4CA3-AC40-9B81BDD42985}"/>
              </a:ext>
            </a:extLst>
          </p:cNvPr>
          <p:cNvSpPr txBox="1"/>
          <p:nvPr/>
        </p:nvSpPr>
        <p:spPr>
          <a:xfrm>
            <a:off x="1674607" y="5952412"/>
            <a:ext cx="85087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accent1"/>
                </a:solidFill>
              </a:rPr>
              <a:t>RPA 1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54C8420-A8F5-4875-808B-809A31FEA595}"/>
              </a:ext>
            </a:extLst>
          </p:cNvPr>
          <p:cNvSpPr txBox="1"/>
          <p:nvPr/>
        </p:nvSpPr>
        <p:spPr>
          <a:xfrm>
            <a:off x="7402634" y="5952412"/>
            <a:ext cx="85087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accent1"/>
                </a:solidFill>
              </a:rPr>
              <a:t>RPA 2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2AED5AA-499A-4C0F-8A61-1B703ABD15C4}"/>
              </a:ext>
            </a:extLst>
          </p:cNvPr>
          <p:cNvSpPr txBox="1"/>
          <p:nvPr/>
        </p:nvSpPr>
        <p:spPr>
          <a:xfrm>
            <a:off x="4651854" y="5954807"/>
            <a:ext cx="51937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b="1" dirty="0">
                <a:solidFill>
                  <a:srgbClr val="FF0000"/>
                </a:solidFill>
              </a:rPr>
              <a:t>M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BCBFA8A-D707-4085-8947-13833D69B565}"/>
              </a:ext>
            </a:extLst>
          </p:cNvPr>
          <p:cNvSpPr txBox="1"/>
          <p:nvPr/>
        </p:nvSpPr>
        <p:spPr>
          <a:xfrm>
            <a:off x="2897262" y="3871213"/>
            <a:ext cx="1134926" cy="43088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Consolidating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5585A1DA-01AC-4C34-A8F3-D9D58C31E20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45907" y="2908028"/>
            <a:ext cx="914400" cy="914400"/>
          </a:xfrm>
          <a:prstGeom prst="rect">
            <a:avLst/>
          </a:prstGeom>
        </p:spPr>
      </p:pic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AC519B06-B0ED-4062-9EEC-593E082AD023}"/>
              </a:ext>
            </a:extLst>
          </p:cNvPr>
          <p:cNvSpPr/>
          <p:nvPr/>
        </p:nvSpPr>
        <p:spPr>
          <a:xfrm>
            <a:off x="1" y="-29171"/>
            <a:ext cx="2369820" cy="34887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UP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5D99F3B-5EB4-4ED3-A3F1-7EB2EBC27960}"/>
              </a:ext>
            </a:extLst>
          </p:cNvPr>
          <p:cNvSpPr/>
          <p:nvPr/>
        </p:nvSpPr>
        <p:spPr>
          <a:xfrm>
            <a:off x="561066" y="6566537"/>
            <a:ext cx="1572534" cy="274891"/>
          </a:xfrm>
          <a:prstGeom prst="round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1. SPA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7ED352A4-4A9A-456B-BFEA-7CAE4B49F5E1}"/>
              </a:ext>
            </a:extLst>
          </p:cNvPr>
          <p:cNvSpPr/>
          <p:nvPr/>
        </p:nvSpPr>
        <p:spPr>
          <a:xfrm>
            <a:off x="217650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2. Why RPA + ML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02D852A-19CA-42B6-AAA2-01CA9CFA6C18}"/>
              </a:ext>
            </a:extLst>
          </p:cNvPr>
          <p:cNvSpPr/>
          <p:nvPr/>
        </p:nvSpPr>
        <p:spPr>
          <a:xfrm>
            <a:off x="379194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3. RPA 2.0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6E40BD37-A96F-4A2A-BC3E-E4C46484EA69}"/>
              </a:ext>
            </a:extLst>
          </p:cNvPr>
          <p:cNvSpPr/>
          <p:nvPr/>
        </p:nvSpPr>
        <p:spPr>
          <a:xfrm>
            <a:off x="540738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4. Use cases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6FFF0D8D-96B1-4451-85FE-DE83C7AFDD4D}"/>
              </a:ext>
            </a:extLst>
          </p:cNvPr>
          <p:cNvSpPr/>
          <p:nvPr/>
        </p:nvSpPr>
        <p:spPr>
          <a:xfrm>
            <a:off x="7024626" y="6566535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5. Initiate RPA + ML</a:t>
            </a:r>
          </a:p>
        </p:txBody>
      </p:sp>
    </p:spTree>
    <p:extLst>
      <p:ext uri="{BB962C8B-B14F-4D97-AF65-F5344CB8AC3E}">
        <p14:creationId xmlns:p14="http://schemas.microsoft.com/office/powerpoint/2010/main" val="42341277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FC66BC-2E63-479D-9B3B-BBBE1BC7F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2400" dirty="0"/>
              <a:t>Smart Process Autom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B68A98-65F5-4AA0-8206-1AB76DDD253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416939"/>
            <a:ext cx="4276217" cy="390601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b="1" dirty="0"/>
              <a:t>Current RPA (non-ML)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Rule-based process - rules tell a computer how to response to different situations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No self-decision capability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Static</a:t>
            </a:r>
          </a:p>
          <a:p>
            <a:pPr lvl="1"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B384252-51CE-4AAB-A3EA-BB491B343D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640961" y="1416939"/>
            <a:ext cx="4276217" cy="390601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b="1" dirty="0"/>
              <a:t>SPA (ML enhancement)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Adapt when exposed to new data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Reinforce learning to improve performance on narrowly defined tasks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Dynam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681E73-D1F1-47B1-AAE9-AE432B25C5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fld id="{82EA1D04-CA53-4DE3-84A8-2B63E41036C9}" type="slidenum">
              <a:rPr lang="de-DE" smtClean="0"/>
              <a:pPr>
                <a:lnSpc>
                  <a:spcPct val="150000"/>
                </a:lnSpc>
              </a:pPr>
              <a:t>26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7CFAD4E-539C-4A3E-A7C2-A77445417105}"/>
              </a:ext>
            </a:extLst>
          </p:cNvPr>
          <p:cNvSpPr txBox="1"/>
          <p:nvPr/>
        </p:nvSpPr>
        <p:spPr>
          <a:xfrm>
            <a:off x="592183" y="6035040"/>
            <a:ext cx="279018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i="1" dirty="0"/>
              <a:t>Source: Working with ML &amp; RPA - </a:t>
            </a:r>
            <a:r>
              <a:rPr lang="en-US" sz="1200" i="1" dirty="0" err="1"/>
              <a:t>UiPath</a:t>
            </a:r>
            <a:endParaRPr lang="en-US" sz="1200" i="1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FE1E1C5-7F1B-44D5-9014-C4B218B2B783}"/>
              </a:ext>
            </a:extLst>
          </p:cNvPr>
          <p:cNvCxnSpPr/>
          <p:nvPr/>
        </p:nvCxnSpPr>
        <p:spPr>
          <a:xfrm>
            <a:off x="4380411" y="1285200"/>
            <a:ext cx="0" cy="350451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B215BFC-790A-43E1-A52F-923D529E22A2}"/>
              </a:ext>
            </a:extLst>
          </p:cNvPr>
          <p:cNvSpPr/>
          <p:nvPr/>
        </p:nvSpPr>
        <p:spPr>
          <a:xfrm>
            <a:off x="1" y="-29171"/>
            <a:ext cx="2369820" cy="34887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811273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AB940B2-9D16-4771-9DB2-CF5CDC1DD6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554" y="1218999"/>
            <a:ext cx="3822377" cy="19387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9C1213-0161-40A0-BDE8-416C35660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Techniqu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82AE2B-BFC1-4373-9584-7F2056F03B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27</a:t>
            </a:fld>
            <a:endParaRPr lang="de-DE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5787515-55EE-41E0-B92D-F1274E7A7A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0138995"/>
              </p:ext>
            </p:extLst>
          </p:nvPr>
        </p:nvGraphicFramePr>
        <p:xfrm>
          <a:off x="149687" y="3157727"/>
          <a:ext cx="8844626" cy="34518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01008">
                  <a:extLst>
                    <a:ext uri="{9D8B030D-6E8A-4147-A177-3AD203B41FA5}">
                      <a16:colId xmlns:a16="http://schemas.microsoft.com/office/drawing/2014/main" val="62581310"/>
                    </a:ext>
                  </a:extLst>
                </a:gridCol>
                <a:gridCol w="2634018">
                  <a:extLst>
                    <a:ext uri="{9D8B030D-6E8A-4147-A177-3AD203B41FA5}">
                      <a16:colId xmlns:a16="http://schemas.microsoft.com/office/drawing/2014/main" val="299951389"/>
                    </a:ext>
                  </a:extLst>
                </a:gridCol>
                <a:gridCol w="2598443">
                  <a:extLst>
                    <a:ext uri="{9D8B030D-6E8A-4147-A177-3AD203B41FA5}">
                      <a16:colId xmlns:a16="http://schemas.microsoft.com/office/drawing/2014/main" val="3217626128"/>
                    </a:ext>
                  </a:extLst>
                </a:gridCol>
                <a:gridCol w="2211157">
                  <a:extLst>
                    <a:ext uri="{9D8B030D-6E8A-4147-A177-3AD203B41FA5}">
                      <a16:colId xmlns:a16="http://schemas.microsoft.com/office/drawing/2014/main" val="4123741716"/>
                    </a:ext>
                  </a:extLst>
                </a:gridCol>
              </a:tblGrid>
              <a:tr h="355595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haracteris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lgorithm (exampl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Use 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839915"/>
                  </a:ext>
                </a:extLst>
              </a:tr>
              <a:tr h="154813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Unsupervi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Input data is unlabeled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No need for training data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Use for analy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Clustering &amp; Dimensionality reducti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Association analysi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Hidden Markov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Ticket categorization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Market-basket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9973646"/>
                  </a:ext>
                </a:extLst>
              </a:tr>
              <a:tr h="154813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Supervi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Input data is labeled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Need training / testing data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Use for predi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Regression (linear + logistics)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Decision tree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Naïve Baye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Support vector machin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Sales forecasting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Fraud detecti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/>
                        <a:t>Customer churn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081101"/>
                  </a:ext>
                </a:extLst>
              </a:tr>
            </a:tbl>
          </a:graphicData>
        </a:graphic>
      </p:graphicFrame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19C3202-6C4C-41BF-A810-4834A7DA5B6B}"/>
              </a:ext>
            </a:extLst>
          </p:cNvPr>
          <p:cNvSpPr/>
          <p:nvPr/>
        </p:nvSpPr>
        <p:spPr>
          <a:xfrm>
            <a:off x="1" y="-29171"/>
            <a:ext cx="2369820" cy="34887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887425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30CFDF-E541-4D19-A069-C22DEBDF61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ituation of </a:t>
            </a:r>
            <a:r>
              <a:rPr lang="en-US" dirty="0" err="1"/>
              <a:t>UiPath</a:t>
            </a:r>
            <a:r>
              <a:rPr lang="en-US" dirty="0"/>
              <a:t> on ML (1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362C28-F372-4C6D-8920-563AC5F2148E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285200"/>
            <a:ext cx="4276217" cy="4586391"/>
          </a:xfrm>
        </p:spPr>
        <p:txBody>
          <a:bodyPr/>
          <a:lstStyle/>
          <a:p>
            <a:r>
              <a:rPr lang="en-US" dirty="0" err="1"/>
              <a:t>UiPath</a:t>
            </a:r>
            <a:r>
              <a:rPr lang="en-US" dirty="0"/>
              <a:t> Go – Machine Learning components</a:t>
            </a:r>
          </a:p>
          <a:p>
            <a:r>
              <a:rPr lang="en-US" dirty="0"/>
              <a:t>Single-built common modules for universal purpose (Ex: sentiment analysis with lexicon)</a:t>
            </a:r>
          </a:p>
          <a:p>
            <a:endParaRPr lang="en-US" dirty="0"/>
          </a:p>
          <a:p>
            <a:pPr marL="0" indent="0" algn="ctr">
              <a:buNone/>
            </a:pPr>
            <a:r>
              <a:rPr lang="en-US" dirty="0">
                <a:solidFill>
                  <a:srgbClr val="FF0000"/>
                </a:solidFill>
                <a:sym typeface="Wingdings" panose="05000000000000000000" pitchFamily="2" charset="2"/>
              </a:rPr>
              <a:t> Can not solve specific cases with distinct requirement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A7881C-87F0-4BDF-A934-7EB2184A2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28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434B675-5DE8-4E97-89A7-879D3B092F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1285200"/>
            <a:ext cx="4359656" cy="4006568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12ACBE4-F4FF-40C7-99CC-DC318F99A465}"/>
              </a:ext>
            </a:extLst>
          </p:cNvPr>
          <p:cNvSpPr/>
          <p:nvPr/>
        </p:nvSpPr>
        <p:spPr>
          <a:xfrm>
            <a:off x="561066" y="6566537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1. SP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29CE356-1D7C-4F0E-BEEE-96894FD28ABB}"/>
              </a:ext>
            </a:extLst>
          </p:cNvPr>
          <p:cNvSpPr/>
          <p:nvPr/>
        </p:nvSpPr>
        <p:spPr>
          <a:xfrm>
            <a:off x="217650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. Why RPA + ML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3A4C469-4CDF-4BEC-B1B4-DBBAB62B2F5F}"/>
              </a:ext>
            </a:extLst>
          </p:cNvPr>
          <p:cNvSpPr/>
          <p:nvPr/>
        </p:nvSpPr>
        <p:spPr>
          <a:xfrm>
            <a:off x="379194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3. RPA 2.0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1D657D4-EB25-4BCF-B68F-CB204068B3C7}"/>
              </a:ext>
            </a:extLst>
          </p:cNvPr>
          <p:cNvSpPr/>
          <p:nvPr/>
        </p:nvSpPr>
        <p:spPr>
          <a:xfrm>
            <a:off x="540738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4. Use cas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3B5A010-67D6-417A-B0A0-E6340484EC28}"/>
              </a:ext>
            </a:extLst>
          </p:cNvPr>
          <p:cNvSpPr/>
          <p:nvPr/>
        </p:nvSpPr>
        <p:spPr>
          <a:xfrm>
            <a:off x="7024626" y="6566535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5. Initiate RPA + ML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1E92550-DAC6-4838-B1D4-902EFFF30696}"/>
              </a:ext>
            </a:extLst>
          </p:cNvPr>
          <p:cNvSpPr/>
          <p:nvPr/>
        </p:nvSpPr>
        <p:spPr>
          <a:xfrm>
            <a:off x="1" y="-29171"/>
            <a:ext cx="2369820" cy="34887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7108678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6049A58E-3E74-44C7-8155-16442ACCFFBE}"/>
              </a:ext>
            </a:extLst>
          </p:cNvPr>
          <p:cNvSpPr/>
          <p:nvPr/>
        </p:nvSpPr>
        <p:spPr>
          <a:xfrm>
            <a:off x="5356881" y="1621610"/>
            <a:ext cx="3491027" cy="4432303"/>
          </a:xfrm>
          <a:prstGeom prst="rect">
            <a:avLst/>
          </a:prstGeom>
          <a:ln>
            <a:solidFill>
              <a:srgbClr val="FF0000"/>
            </a:solidFill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2AB2F2F-D84B-4DF8-B27E-A1B989287934}"/>
              </a:ext>
            </a:extLst>
          </p:cNvPr>
          <p:cNvSpPr/>
          <p:nvPr/>
        </p:nvSpPr>
        <p:spPr>
          <a:xfrm>
            <a:off x="5642398" y="3391168"/>
            <a:ext cx="2731053" cy="1022420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D8CDBDB-E938-46EB-8A07-F9BEB1A4B08C}"/>
              </a:ext>
            </a:extLst>
          </p:cNvPr>
          <p:cNvSpPr/>
          <p:nvPr/>
        </p:nvSpPr>
        <p:spPr>
          <a:xfrm>
            <a:off x="5635560" y="2159715"/>
            <a:ext cx="2731055" cy="781616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129F43E-232A-445C-B562-7A4AF8917990}"/>
              </a:ext>
            </a:extLst>
          </p:cNvPr>
          <p:cNvSpPr/>
          <p:nvPr/>
        </p:nvSpPr>
        <p:spPr>
          <a:xfrm>
            <a:off x="296091" y="2629978"/>
            <a:ext cx="3177514" cy="2290354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30CFDF-E541-4D19-A069-C22DEBDF61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ituation of </a:t>
            </a:r>
            <a:r>
              <a:rPr lang="en-US" dirty="0" err="1"/>
              <a:t>UiPath</a:t>
            </a:r>
            <a:r>
              <a:rPr lang="en-US" dirty="0"/>
              <a:t> on ML (2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362C28-F372-4C6D-8920-563AC5F2148E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006515"/>
            <a:ext cx="4276217" cy="4586391"/>
          </a:xfrm>
        </p:spPr>
        <p:txBody>
          <a:bodyPr/>
          <a:lstStyle/>
          <a:p>
            <a:r>
              <a:rPr lang="en-US" dirty="0" err="1"/>
              <a:t>UiPath</a:t>
            </a:r>
            <a:r>
              <a:rPr lang="en-US" dirty="0"/>
              <a:t> Go workfl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A7881C-87F0-4BDF-A934-7EB2184A2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2A2626A-88E5-4A1B-AA99-D8D1488921CC}"/>
              </a:ext>
            </a:extLst>
          </p:cNvPr>
          <p:cNvSpPr txBox="1">
            <a:spLocks/>
          </p:cNvSpPr>
          <p:nvPr/>
        </p:nvSpPr>
        <p:spPr>
          <a:xfrm>
            <a:off x="4655441" y="1006515"/>
            <a:ext cx="4276217" cy="4586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000" indent="-342000" algn="l" defTabSz="914400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800" indent="-26640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0000" indent="-2772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6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8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80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52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Common sentiment analysis workflow (ensemble modeling)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1F203CC-9DD5-4D51-BE27-382E62E7F02E}"/>
              </a:ext>
            </a:extLst>
          </p:cNvPr>
          <p:cNvSpPr/>
          <p:nvPr/>
        </p:nvSpPr>
        <p:spPr>
          <a:xfrm>
            <a:off x="731520" y="3046558"/>
            <a:ext cx="1985554" cy="1046460"/>
          </a:xfrm>
          <a:prstGeom prst="ellipse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entiment lexicon scor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172A4FB-4AB5-4949-A260-68CF207A5DF6}"/>
              </a:ext>
            </a:extLst>
          </p:cNvPr>
          <p:cNvSpPr/>
          <p:nvPr/>
        </p:nvSpPr>
        <p:spPr>
          <a:xfrm>
            <a:off x="731520" y="1686529"/>
            <a:ext cx="1985554" cy="783772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Get Text activitie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91BC050-3593-496A-A051-3CF620A37029}"/>
              </a:ext>
            </a:extLst>
          </p:cNvPr>
          <p:cNvCxnSpPr>
            <a:stCxn id="10" idx="2"/>
          </p:cNvCxnSpPr>
          <p:nvPr/>
        </p:nvCxnSpPr>
        <p:spPr>
          <a:xfrm>
            <a:off x="1724297" y="2470301"/>
            <a:ext cx="0" cy="57625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F94D200-1374-4E00-8A8F-B0D59E04A6B1}"/>
              </a:ext>
            </a:extLst>
          </p:cNvPr>
          <p:cNvCxnSpPr>
            <a:cxnSpLocks/>
            <a:stCxn id="9" idx="4"/>
            <a:endCxn id="19" idx="0"/>
          </p:cNvCxnSpPr>
          <p:nvPr/>
        </p:nvCxnSpPr>
        <p:spPr>
          <a:xfrm>
            <a:off x="1724297" y="4093018"/>
            <a:ext cx="0" cy="93760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B7692C8-BE69-4DE9-B44C-9F4DEE028E72}"/>
              </a:ext>
            </a:extLst>
          </p:cNvPr>
          <p:cNvSpPr txBox="1"/>
          <p:nvPr/>
        </p:nvSpPr>
        <p:spPr>
          <a:xfrm>
            <a:off x="1881051" y="4315597"/>
            <a:ext cx="167204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Result [</a:t>
            </a:r>
            <a:r>
              <a:rPr lang="en-US" sz="1600" dirty="0">
                <a:solidFill>
                  <a:srgbClr val="C50022"/>
                </a:solidFill>
              </a:rPr>
              <a:t>negative, positive, neutral</a:t>
            </a:r>
            <a:r>
              <a:rPr lang="en-US" sz="1600" dirty="0"/>
              <a:t>]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339D9D7-82DA-4FB5-AA89-4D67B85493D3}"/>
              </a:ext>
            </a:extLst>
          </p:cNvPr>
          <p:cNvSpPr/>
          <p:nvPr/>
        </p:nvSpPr>
        <p:spPr>
          <a:xfrm>
            <a:off x="731520" y="5030621"/>
            <a:ext cx="1985554" cy="783772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Continue with RPA’s proces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C430383-58E9-447A-80F6-C75ACA2E627E}"/>
              </a:ext>
            </a:extLst>
          </p:cNvPr>
          <p:cNvSpPr/>
          <p:nvPr/>
        </p:nvSpPr>
        <p:spPr>
          <a:xfrm>
            <a:off x="3632589" y="1762729"/>
            <a:ext cx="1323703" cy="52251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Get Text activitie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8821AF1-2F44-4299-9996-696B48F096E4}"/>
              </a:ext>
            </a:extLst>
          </p:cNvPr>
          <p:cNvCxnSpPr/>
          <p:nvPr/>
        </p:nvCxnSpPr>
        <p:spPr>
          <a:xfrm>
            <a:off x="3553097" y="1006515"/>
            <a:ext cx="0" cy="515914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58E0DC4-2FEE-456F-AD3D-BEE38CA6B9B0}"/>
              </a:ext>
            </a:extLst>
          </p:cNvPr>
          <p:cNvCxnSpPr>
            <a:cxnSpLocks/>
            <a:stCxn id="22" idx="3"/>
            <a:endCxn id="31" idx="2"/>
          </p:cNvCxnSpPr>
          <p:nvPr/>
        </p:nvCxnSpPr>
        <p:spPr>
          <a:xfrm flipV="1">
            <a:off x="4956292" y="2023986"/>
            <a:ext cx="1029892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5AC59F8-2383-433E-9C6D-B983383E0640}"/>
              </a:ext>
            </a:extLst>
          </p:cNvPr>
          <p:cNvSpPr txBox="1"/>
          <p:nvPr/>
        </p:nvSpPr>
        <p:spPr>
          <a:xfrm>
            <a:off x="3092706" y="2664332"/>
            <a:ext cx="33342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L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028384B-5310-4D64-8389-414806EE90F2}"/>
              </a:ext>
            </a:extLst>
          </p:cNvPr>
          <p:cNvSpPr/>
          <p:nvPr/>
        </p:nvSpPr>
        <p:spPr>
          <a:xfrm>
            <a:off x="5986184" y="1719035"/>
            <a:ext cx="1988084" cy="609901"/>
          </a:xfrm>
          <a:prstGeom prst="ellipse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Preprocessing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B734EE5-9392-4F8D-8AA1-F42FA424EDDB}"/>
              </a:ext>
            </a:extLst>
          </p:cNvPr>
          <p:cNvSpPr/>
          <p:nvPr/>
        </p:nvSpPr>
        <p:spPr>
          <a:xfrm>
            <a:off x="6007045" y="3124049"/>
            <a:ext cx="1988084" cy="609901"/>
          </a:xfrm>
          <a:prstGeom prst="ellipse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odeling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CCDE1D78-8B41-4C3A-A84E-9E6A07ED0F92}"/>
              </a:ext>
            </a:extLst>
          </p:cNvPr>
          <p:cNvCxnSpPr>
            <a:cxnSpLocks/>
            <a:stCxn id="44" idx="2"/>
            <a:endCxn id="46" idx="0"/>
          </p:cNvCxnSpPr>
          <p:nvPr/>
        </p:nvCxnSpPr>
        <p:spPr>
          <a:xfrm flipH="1">
            <a:off x="7001087" y="2941331"/>
            <a:ext cx="1" cy="18271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C8D1E200-75FF-4465-A109-6B163982D64B}"/>
              </a:ext>
            </a:extLst>
          </p:cNvPr>
          <p:cNvSpPr/>
          <p:nvPr/>
        </p:nvSpPr>
        <p:spPr>
          <a:xfrm>
            <a:off x="5692940" y="3799520"/>
            <a:ext cx="781735" cy="38161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Model 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4F54B88-38BA-4F44-B0BD-6B2EDEEA7561}"/>
              </a:ext>
            </a:extLst>
          </p:cNvPr>
          <p:cNvSpPr txBox="1"/>
          <p:nvPr/>
        </p:nvSpPr>
        <p:spPr>
          <a:xfrm>
            <a:off x="7992921" y="2523399"/>
            <a:ext cx="2949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/>
              <a:t>….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FD7AC5A2-74B2-47B4-8686-9FA80E810CB0}"/>
              </a:ext>
            </a:extLst>
          </p:cNvPr>
          <p:cNvSpPr/>
          <p:nvPr/>
        </p:nvSpPr>
        <p:spPr>
          <a:xfrm>
            <a:off x="5738953" y="2391327"/>
            <a:ext cx="637747" cy="33248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Step 1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894B0626-87B4-434E-8A17-BF07D76C1DB1}"/>
              </a:ext>
            </a:extLst>
          </p:cNvPr>
          <p:cNvSpPr/>
          <p:nvPr/>
        </p:nvSpPr>
        <p:spPr>
          <a:xfrm>
            <a:off x="6474675" y="2391327"/>
            <a:ext cx="637747" cy="33248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Step 2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B3C9414B-5961-487B-8F87-CF3E1BA4B2FB}"/>
              </a:ext>
            </a:extLst>
          </p:cNvPr>
          <p:cNvSpPr/>
          <p:nvPr/>
        </p:nvSpPr>
        <p:spPr>
          <a:xfrm>
            <a:off x="7187519" y="2383034"/>
            <a:ext cx="637747" cy="33248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Step 3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2550706C-EBC3-4555-85C0-79F890E97BD8}"/>
              </a:ext>
            </a:extLst>
          </p:cNvPr>
          <p:cNvSpPr/>
          <p:nvPr/>
        </p:nvSpPr>
        <p:spPr>
          <a:xfrm>
            <a:off x="6615488" y="3783516"/>
            <a:ext cx="781735" cy="38161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Model 2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B8273550-EAE0-4EF2-9489-42EFF9AF84F0}"/>
              </a:ext>
            </a:extLst>
          </p:cNvPr>
          <p:cNvSpPr/>
          <p:nvPr/>
        </p:nvSpPr>
        <p:spPr>
          <a:xfrm>
            <a:off x="7538036" y="3794488"/>
            <a:ext cx="781735" cy="38161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Model 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EB249E5-EE02-4F9F-9D42-D8D13F56C490}"/>
              </a:ext>
            </a:extLst>
          </p:cNvPr>
          <p:cNvSpPr txBox="1"/>
          <p:nvPr/>
        </p:nvSpPr>
        <p:spPr>
          <a:xfrm>
            <a:off x="6893850" y="4136883"/>
            <a:ext cx="2949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/>
              <a:t>….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2268F7D1-E3D9-4BAB-B7FE-4EE4B768BA12}"/>
              </a:ext>
            </a:extLst>
          </p:cNvPr>
          <p:cNvSpPr/>
          <p:nvPr/>
        </p:nvSpPr>
        <p:spPr>
          <a:xfrm>
            <a:off x="6014591" y="4579422"/>
            <a:ext cx="1988084" cy="609901"/>
          </a:xfrm>
          <a:prstGeom prst="ellipse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Validating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2922CEEF-2EB7-401F-9E77-4AAAB13DB73C}"/>
              </a:ext>
            </a:extLst>
          </p:cNvPr>
          <p:cNvCxnSpPr>
            <a:cxnSpLocks/>
            <a:stCxn id="56" idx="2"/>
            <a:endCxn id="55" idx="0"/>
          </p:cNvCxnSpPr>
          <p:nvPr/>
        </p:nvCxnSpPr>
        <p:spPr>
          <a:xfrm>
            <a:off x="7007925" y="4413588"/>
            <a:ext cx="708" cy="16583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0940F63E-C51B-4F87-832F-9B334AB4A875}"/>
              </a:ext>
            </a:extLst>
          </p:cNvPr>
          <p:cNvSpPr/>
          <p:nvPr/>
        </p:nvSpPr>
        <p:spPr>
          <a:xfrm>
            <a:off x="6014591" y="5357434"/>
            <a:ext cx="1988084" cy="609901"/>
          </a:xfrm>
          <a:prstGeom prst="ellipse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Deployment</a:t>
            </a: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8D51A468-9856-427C-99EE-C9F34C2634DA}"/>
              </a:ext>
            </a:extLst>
          </p:cNvPr>
          <p:cNvCxnSpPr>
            <a:cxnSpLocks/>
            <a:stCxn id="55" idx="4"/>
            <a:endCxn id="58" idx="0"/>
          </p:cNvCxnSpPr>
          <p:nvPr/>
        </p:nvCxnSpPr>
        <p:spPr>
          <a:xfrm>
            <a:off x="7008633" y="5189323"/>
            <a:ext cx="0" cy="16811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6E3BB89A-5DB3-4D3A-B879-5600A5B6FFBB}"/>
              </a:ext>
            </a:extLst>
          </p:cNvPr>
          <p:cNvSpPr/>
          <p:nvPr/>
        </p:nvSpPr>
        <p:spPr>
          <a:xfrm>
            <a:off x="3632589" y="5258454"/>
            <a:ext cx="1557413" cy="795469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Continue with RPA’s process</a:t>
            </a: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3773BDA4-3B61-46B9-A050-EF31FEB81A81}"/>
              </a:ext>
            </a:extLst>
          </p:cNvPr>
          <p:cNvCxnSpPr>
            <a:cxnSpLocks/>
            <a:stCxn id="58" idx="2"/>
            <a:endCxn id="69" idx="3"/>
          </p:cNvCxnSpPr>
          <p:nvPr/>
        </p:nvCxnSpPr>
        <p:spPr>
          <a:xfrm flipH="1" flipV="1">
            <a:off x="5190002" y="5656189"/>
            <a:ext cx="824589" cy="619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7A58E396-ADE8-4C2B-B000-05CCF71EB5E7}"/>
              </a:ext>
            </a:extLst>
          </p:cNvPr>
          <p:cNvSpPr txBox="1"/>
          <p:nvPr/>
        </p:nvSpPr>
        <p:spPr>
          <a:xfrm>
            <a:off x="8473396" y="1624229"/>
            <a:ext cx="3334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L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2B0C4670-7D95-4D54-A211-6266DA602B58}"/>
              </a:ext>
            </a:extLst>
          </p:cNvPr>
          <p:cNvSpPr/>
          <p:nvPr/>
        </p:nvSpPr>
        <p:spPr>
          <a:xfrm>
            <a:off x="561066" y="6566537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1. SPA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37BEDDA6-740F-4AD7-BFAA-B15919CCA0B4}"/>
              </a:ext>
            </a:extLst>
          </p:cNvPr>
          <p:cNvSpPr/>
          <p:nvPr/>
        </p:nvSpPr>
        <p:spPr>
          <a:xfrm>
            <a:off x="217650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. Why RPA + ML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36E189F5-8840-4456-9A31-B07424EC26F8}"/>
              </a:ext>
            </a:extLst>
          </p:cNvPr>
          <p:cNvSpPr/>
          <p:nvPr/>
        </p:nvSpPr>
        <p:spPr>
          <a:xfrm>
            <a:off x="379194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3. RPA 2.0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94DCC551-E40E-4BB8-B3C2-9C315750CB23}"/>
              </a:ext>
            </a:extLst>
          </p:cNvPr>
          <p:cNvSpPr/>
          <p:nvPr/>
        </p:nvSpPr>
        <p:spPr>
          <a:xfrm>
            <a:off x="540738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4. Use cases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4CDC1AFB-36D5-4FAE-BEC7-F42AA9B34381}"/>
              </a:ext>
            </a:extLst>
          </p:cNvPr>
          <p:cNvSpPr/>
          <p:nvPr/>
        </p:nvSpPr>
        <p:spPr>
          <a:xfrm>
            <a:off x="7024626" y="6566535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5. Initiate RPA + ML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E5C5BCB0-DA48-469C-A9B3-61C11FFF4DC7}"/>
              </a:ext>
            </a:extLst>
          </p:cNvPr>
          <p:cNvSpPr/>
          <p:nvPr/>
        </p:nvSpPr>
        <p:spPr>
          <a:xfrm>
            <a:off x="1" y="-29171"/>
            <a:ext cx="2369820" cy="34887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994033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A6F4A6-606B-4A2D-B373-D25A51B2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4400" kern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graphicFrame>
        <p:nvGraphicFramePr>
          <p:cNvPr id="25" name="Text Placeholder 4">
            <a:extLst>
              <a:ext uri="{FF2B5EF4-FFF2-40B4-BE49-F238E27FC236}">
                <a16:creationId xmlns:a16="http://schemas.microsoft.com/office/drawing/2014/main" id="{C0388A6B-7D29-49DF-B2B1-22C65520E5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9370492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67703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62AB2F2F-D84B-4DF8-B27E-A1B989287934}"/>
              </a:ext>
            </a:extLst>
          </p:cNvPr>
          <p:cNvSpPr/>
          <p:nvPr/>
        </p:nvSpPr>
        <p:spPr>
          <a:xfrm>
            <a:off x="4153485" y="4618788"/>
            <a:ext cx="1999132" cy="1414798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D8CDBDB-E938-46EB-8A07-F9BEB1A4B08C}"/>
              </a:ext>
            </a:extLst>
          </p:cNvPr>
          <p:cNvSpPr/>
          <p:nvPr/>
        </p:nvSpPr>
        <p:spPr>
          <a:xfrm>
            <a:off x="5635560" y="2159714"/>
            <a:ext cx="3462978" cy="1441591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129F43E-232A-445C-B562-7A4AF8917990}"/>
              </a:ext>
            </a:extLst>
          </p:cNvPr>
          <p:cNvSpPr/>
          <p:nvPr/>
        </p:nvSpPr>
        <p:spPr>
          <a:xfrm>
            <a:off x="296091" y="2629978"/>
            <a:ext cx="3177514" cy="2290354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30CFDF-E541-4D19-A069-C22DEBDF61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ituation of </a:t>
            </a:r>
            <a:r>
              <a:rPr lang="en-US" dirty="0" err="1"/>
              <a:t>UiPath</a:t>
            </a:r>
            <a:r>
              <a:rPr lang="en-US" dirty="0"/>
              <a:t> on ML (2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362C28-F372-4C6D-8920-563AC5F2148E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006515"/>
            <a:ext cx="4276217" cy="4586391"/>
          </a:xfrm>
        </p:spPr>
        <p:txBody>
          <a:bodyPr/>
          <a:lstStyle/>
          <a:p>
            <a:r>
              <a:rPr lang="en-US" dirty="0" err="1"/>
              <a:t>UiPath</a:t>
            </a:r>
            <a:r>
              <a:rPr lang="en-US" dirty="0"/>
              <a:t> Go workfl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A7881C-87F0-4BDF-A934-7EB2184A2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2A2626A-88E5-4A1B-AA99-D8D1488921CC}"/>
              </a:ext>
            </a:extLst>
          </p:cNvPr>
          <p:cNvSpPr txBox="1">
            <a:spLocks/>
          </p:cNvSpPr>
          <p:nvPr/>
        </p:nvSpPr>
        <p:spPr>
          <a:xfrm>
            <a:off x="4655441" y="1006515"/>
            <a:ext cx="4276217" cy="4586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000" indent="-342000" algn="l" defTabSz="914400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800" indent="-26640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0000" indent="-2772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6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8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80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52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lvl="0"/>
            <a:r>
              <a:rPr lang="en-US" dirty="0"/>
              <a:t>Common sentiment analysis workflow (ensemble modeling)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1F203CC-9DD5-4D51-BE27-382E62E7F02E}"/>
              </a:ext>
            </a:extLst>
          </p:cNvPr>
          <p:cNvSpPr/>
          <p:nvPr/>
        </p:nvSpPr>
        <p:spPr>
          <a:xfrm>
            <a:off x="731520" y="3046558"/>
            <a:ext cx="1985554" cy="1046460"/>
          </a:xfrm>
          <a:prstGeom prst="ellipse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entiment lexicon scor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172A4FB-4AB5-4949-A260-68CF207A5DF6}"/>
              </a:ext>
            </a:extLst>
          </p:cNvPr>
          <p:cNvSpPr/>
          <p:nvPr/>
        </p:nvSpPr>
        <p:spPr>
          <a:xfrm>
            <a:off x="731520" y="1686529"/>
            <a:ext cx="1985554" cy="783772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Get Text activitie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91BC050-3593-496A-A051-3CF620A37029}"/>
              </a:ext>
            </a:extLst>
          </p:cNvPr>
          <p:cNvCxnSpPr>
            <a:stCxn id="10" idx="2"/>
          </p:cNvCxnSpPr>
          <p:nvPr/>
        </p:nvCxnSpPr>
        <p:spPr>
          <a:xfrm>
            <a:off x="1724297" y="2470301"/>
            <a:ext cx="0" cy="57625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F94D200-1374-4E00-8A8F-B0D59E04A6B1}"/>
              </a:ext>
            </a:extLst>
          </p:cNvPr>
          <p:cNvCxnSpPr>
            <a:cxnSpLocks/>
            <a:stCxn id="9" idx="4"/>
            <a:endCxn id="19" idx="0"/>
          </p:cNvCxnSpPr>
          <p:nvPr/>
        </p:nvCxnSpPr>
        <p:spPr>
          <a:xfrm>
            <a:off x="1724297" y="4093018"/>
            <a:ext cx="0" cy="93760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B7692C8-BE69-4DE9-B44C-9F4DEE028E72}"/>
              </a:ext>
            </a:extLst>
          </p:cNvPr>
          <p:cNvSpPr txBox="1"/>
          <p:nvPr/>
        </p:nvSpPr>
        <p:spPr>
          <a:xfrm>
            <a:off x="1881051" y="4315597"/>
            <a:ext cx="167204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Result [</a:t>
            </a:r>
            <a:r>
              <a:rPr lang="en-US" sz="1600" dirty="0">
                <a:solidFill>
                  <a:srgbClr val="C50022"/>
                </a:solidFill>
              </a:rPr>
              <a:t>negative, positive, neutral</a:t>
            </a:r>
            <a:r>
              <a:rPr lang="en-US" sz="1600" dirty="0"/>
              <a:t>]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339D9D7-82DA-4FB5-AA89-4D67B85493D3}"/>
              </a:ext>
            </a:extLst>
          </p:cNvPr>
          <p:cNvSpPr/>
          <p:nvPr/>
        </p:nvSpPr>
        <p:spPr>
          <a:xfrm>
            <a:off x="731520" y="5030621"/>
            <a:ext cx="1985554" cy="783772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Continue with RPA’s proces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C430383-58E9-447A-80F6-C75ACA2E627E}"/>
              </a:ext>
            </a:extLst>
          </p:cNvPr>
          <p:cNvSpPr/>
          <p:nvPr/>
        </p:nvSpPr>
        <p:spPr>
          <a:xfrm>
            <a:off x="3632589" y="1762729"/>
            <a:ext cx="1323703" cy="52251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Get Text activitie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8821AF1-2F44-4299-9996-696B48F096E4}"/>
              </a:ext>
            </a:extLst>
          </p:cNvPr>
          <p:cNvCxnSpPr/>
          <p:nvPr/>
        </p:nvCxnSpPr>
        <p:spPr>
          <a:xfrm>
            <a:off x="3553097" y="1006515"/>
            <a:ext cx="0" cy="515914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58E0DC4-2FEE-456F-AD3D-BEE38CA6B9B0}"/>
              </a:ext>
            </a:extLst>
          </p:cNvPr>
          <p:cNvCxnSpPr>
            <a:cxnSpLocks/>
            <a:stCxn id="22" idx="3"/>
            <a:endCxn id="31" idx="2"/>
          </p:cNvCxnSpPr>
          <p:nvPr/>
        </p:nvCxnSpPr>
        <p:spPr>
          <a:xfrm flipV="1">
            <a:off x="4956292" y="2023986"/>
            <a:ext cx="1029892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5AC59F8-2383-433E-9C6D-B983383E0640}"/>
              </a:ext>
            </a:extLst>
          </p:cNvPr>
          <p:cNvSpPr txBox="1"/>
          <p:nvPr/>
        </p:nvSpPr>
        <p:spPr>
          <a:xfrm>
            <a:off x="3092706" y="2664332"/>
            <a:ext cx="33342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L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028384B-5310-4D64-8389-414806EE90F2}"/>
              </a:ext>
            </a:extLst>
          </p:cNvPr>
          <p:cNvSpPr/>
          <p:nvPr/>
        </p:nvSpPr>
        <p:spPr>
          <a:xfrm>
            <a:off x="5986184" y="1719035"/>
            <a:ext cx="1988084" cy="609901"/>
          </a:xfrm>
          <a:prstGeom prst="ellipse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Preprocessing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66698C44-0030-4186-AF37-5537693E59DC}"/>
              </a:ext>
            </a:extLst>
          </p:cNvPr>
          <p:cNvSpPr/>
          <p:nvPr/>
        </p:nvSpPr>
        <p:spPr>
          <a:xfrm>
            <a:off x="5729736" y="2456490"/>
            <a:ext cx="1029892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Stop-words removal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850DDDC0-A4DA-4F61-9D46-F5409E024E2B}"/>
              </a:ext>
            </a:extLst>
          </p:cNvPr>
          <p:cNvSpPr/>
          <p:nvPr/>
        </p:nvSpPr>
        <p:spPr>
          <a:xfrm>
            <a:off x="6883052" y="2448934"/>
            <a:ext cx="1029892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N-gram modeling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F8ED8A4B-37EE-4174-B69E-F7BE6FA8964F}"/>
              </a:ext>
            </a:extLst>
          </p:cNvPr>
          <p:cNvSpPr/>
          <p:nvPr/>
        </p:nvSpPr>
        <p:spPr>
          <a:xfrm>
            <a:off x="8036369" y="2448934"/>
            <a:ext cx="1029892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Word embedding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4C925E5D-8D16-45FF-A841-981C6008F3B1}"/>
              </a:ext>
            </a:extLst>
          </p:cNvPr>
          <p:cNvSpPr/>
          <p:nvPr/>
        </p:nvSpPr>
        <p:spPr>
          <a:xfrm>
            <a:off x="5729736" y="2971788"/>
            <a:ext cx="1029892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Abbreviation translation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0206DFE6-BA83-4A52-BB3A-FC926B0EFF9A}"/>
              </a:ext>
            </a:extLst>
          </p:cNvPr>
          <p:cNvSpPr/>
          <p:nvPr/>
        </p:nvSpPr>
        <p:spPr>
          <a:xfrm>
            <a:off x="6833536" y="2973814"/>
            <a:ext cx="1140361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Lemmatization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D930C354-E059-487F-9984-010BF0859D53}"/>
              </a:ext>
            </a:extLst>
          </p:cNvPr>
          <p:cNvSpPr/>
          <p:nvPr/>
        </p:nvSpPr>
        <p:spPr>
          <a:xfrm>
            <a:off x="8036369" y="2954899"/>
            <a:ext cx="1029892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Tokenization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B734EE5-9392-4F8D-8AA1-F42FA424EDDB}"/>
              </a:ext>
            </a:extLst>
          </p:cNvPr>
          <p:cNvSpPr/>
          <p:nvPr/>
        </p:nvSpPr>
        <p:spPr>
          <a:xfrm>
            <a:off x="5314862" y="3717994"/>
            <a:ext cx="1988084" cy="609901"/>
          </a:xfrm>
          <a:prstGeom prst="ellipse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Modeling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CCDE1D78-8B41-4C3A-A84E-9E6A07ED0F92}"/>
              </a:ext>
            </a:extLst>
          </p:cNvPr>
          <p:cNvCxnSpPr>
            <a:cxnSpLocks/>
            <a:stCxn id="44" idx="2"/>
            <a:endCxn id="46" idx="0"/>
          </p:cNvCxnSpPr>
          <p:nvPr/>
        </p:nvCxnSpPr>
        <p:spPr>
          <a:xfrm flipH="1">
            <a:off x="6308904" y="3601305"/>
            <a:ext cx="1058145" cy="11668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C8D1E200-75FF-4465-A109-6B163982D64B}"/>
              </a:ext>
            </a:extLst>
          </p:cNvPr>
          <p:cNvSpPr/>
          <p:nvPr/>
        </p:nvSpPr>
        <p:spPr>
          <a:xfrm>
            <a:off x="4605668" y="4351470"/>
            <a:ext cx="1029892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Lexicon models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0C4FCDBC-B81B-4358-ADAA-45E3473F48D8}"/>
              </a:ext>
            </a:extLst>
          </p:cNvPr>
          <p:cNvSpPr/>
          <p:nvPr/>
        </p:nvSpPr>
        <p:spPr>
          <a:xfrm>
            <a:off x="4804132" y="4873420"/>
            <a:ext cx="577765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 err="1"/>
              <a:t>BingLiu</a:t>
            </a:r>
            <a:endParaRPr lang="en-US" sz="1100" dirty="0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C5CF15D0-EBE9-404E-857E-6E70CBFD9D77}"/>
              </a:ext>
            </a:extLst>
          </p:cNvPr>
          <p:cNvSpPr/>
          <p:nvPr/>
        </p:nvSpPr>
        <p:spPr>
          <a:xfrm>
            <a:off x="4804132" y="5372234"/>
            <a:ext cx="577766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NRC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4F54B88-38BA-4F44-B0BD-6B2EDEEA7561}"/>
              </a:ext>
            </a:extLst>
          </p:cNvPr>
          <p:cNvSpPr txBox="1"/>
          <p:nvPr/>
        </p:nvSpPr>
        <p:spPr>
          <a:xfrm>
            <a:off x="7250521" y="3304272"/>
            <a:ext cx="2949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/>
              <a:t>….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6DB16B7-D083-4DD3-88F2-2726D912C141}"/>
              </a:ext>
            </a:extLst>
          </p:cNvPr>
          <p:cNvSpPr txBox="1"/>
          <p:nvPr/>
        </p:nvSpPr>
        <p:spPr>
          <a:xfrm>
            <a:off x="4956292" y="5694161"/>
            <a:ext cx="2949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/>
              <a:t>….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76704E2-8F79-4607-901F-8F720A5603ED}"/>
              </a:ext>
            </a:extLst>
          </p:cNvPr>
          <p:cNvSpPr/>
          <p:nvPr/>
        </p:nvSpPr>
        <p:spPr>
          <a:xfrm>
            <a:off x="6367483" y="4628318"/>
            <a:ext cx="1999132" cy="1414798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907E1C5B-415B-470C-8EF3-A33474ED1C1B}"/>
              </a:ext>
            </a:extLst>
          </p:cNvPr>
          <p:cNvSpPr/>
          <p:nvPr/>
        </p:nvSpPr>
        <p:spPr>
          <a:xfrm>
            <a:off x="6819666" y="4361000"/>
            <a:ext cx="1029892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Supervised Learning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AE8ABA65-31BC-4E84-AAA4-D9109CE93353}"/>
              </a:ext>
            </a:extLst>
          </p:cNvPr>
          <p:cNvSpPr/>
          <p:nvPr/>
        </p:nvSpPr>
        <p:spPr>
          <a:xfrm>
            <a:off x="6759628" y="4859814"/>
            <a:ext cx="1178152" cy="42069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Build labeled dataset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230ABF1B-E857-45AC-97F9-895B50AC1628}"/>
              </a:ext>
            </a:extLst>
          </p:cNvPr>
          <p:cNvSpPr/>
          <p:nvPr/>
        </p:nvSpPr>
        <p:spPr>
          <a:xfrm>
            <a:off x="7034247" y="5435544"/>
            <a:ext cx="537398" cy="346869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SV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2CE1F896-A594-4EF5-9A9A-0869C5090896}"/>
              </a:ext>
            </a:extLst>
          </p:cNvPr>
          <p:cNvSpPr txBox="1"/>
          <p:nvPr/>
        </p:nvSpPr>
        <p:spPr>
          <a:xfrm>
            <a:off x="7170290" y="5703691"/>
            <a:ext cx="2949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/>
              <a:t>….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8E5B2672-1961-4944-80E4-23B51E89D14C}"/>
              </a:ext>
            </a:extLst>
          </p:cNvPr>
          <p:cNvSpPr/>
          <p:nvPr/>
        </p:nvSpPr>
        <p:spPr>
          <a:xfrm>
            <a:off x="6409150" y="5450578"/>
            <a:ext cx="484701" cy="324723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LR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F5CBF82-D702-408B-A255-838D1BD7BE30}"/>
              </a:ext>
            </a:extLst>
          </p:cNvPr>
          <p:cNvSpPr/>
          <p:nvPr/>
        </p:nvSpPr>
        <p:spPr>
          <a:xfrm>
            <a:off x="7683475" y="5428432"/>
            <a:ext cx="487179" cy="346869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NB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ACB6AA3-B0E2-4CD4-908E-FD6689D1E7DE}"/>
              </a:ext>
            </a:extLst>
          </p:cNvPr>
          <p:cNvSpPr txBox="1"/>
          <p:nvPr/>
        </p:nvSpPr>
        <p:spPr>
          <a:xfrm>
            <a:off x="8636703" y="5197217"/>
            <a:ext cx="29495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/>
              <a:t>…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D327EF4-3F50-482B-936A-FCFB84268BFA}"/>
              </a:ext>
            </a:extLst>
          </p:cNvPr>
          <p:cNvSpPr/>
          <p:nvPr/>
        </p:nvSpPr>
        <p:spPr>
          <a:xfrm>
            <a:off x="1" y="-29171"/>
            <a:ext cx="2369820" cy="34887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UP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00E9271-FB51-4BEB-956D-E93CF52ED867}"/>
              </a:ext>
            </a:extLst>
          </p:cNvPr>
          <p:cNvSpPr/>
          <p:nvPr/>
        </p:nvSpPr>
        <p:spPr>
          <a:xfrm>
            <a:off x="561066" y="6566537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1. SPA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D94CC97F-7FAE-42A6-BA63-840D3483D39B}"/>
              </a:ext>
            </a:extLst>
          </p:cNvPr>
          <p:cNvSpPr/>
          <p:nvPr/>
        </p:nvSpPr>
        <p:spPr>
          <a:xfrm>
            <a:off x="217650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2. Why RPA + ML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7AC4B2AF-DBDD-41B4-9653-16C6882D496A}"/>
              </a:ext>
            </a:extLst>
          </p:cNvPr>
          <p:cNvSpPr/>
          <p:nvPr/>
        </p:nvSpPr>
        <p:spPr>
          <a:xfrm>
            <a:off x="379194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3. RPA 2.0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E24411F-80B8-4F6F-A91E-E79EEE4CB7A6}"/>
              </a:ext>
            </a:extLst>
          </p:cNvPr>
          <p:cNvSpPr/>
          <p:nvPr/>
        </p:nvSpPr>
        <p:spPr>
          <a:xfrm>
            <a:off x="540738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4. Use cases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644D79AD-BFA7-42E9-9F0D-1EB4200E8E61}"/>
              </a:ext>
            </a:extLst>
          </p:cNvPr>
          <p:cNvSpPr/>
          <p:nvPr/>
        </p:nvSpPr>
        <p:spPr>
          <a:xfrm>
            <a:off x="7024626" y="6566535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5. Initiate RPA + ML</a:t>
            </a:r>
          </a:p>
        </p:txBody>
      </p:sp>
    </p:spTree>
    <p:extLst>
      <p:ext uri="{BB962C8B-B14F-4D97-AF65-F5344CB8AC3E}">
        <p14:creationId xmlns:p14="http://schemas.microsoft.com/office/powerpoint/2010/main" val="28307048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69AAB86C-BE43-4BB4-8E86-EFA20573EE00}"/>
              </a:ext>
            </a:extLst>
          </p:cNvPr>
          <p:cNvSpPr/>
          <p:nvPr/>
        </p:nvSpPr>
        <p:spPr>
          <a:xfrm>
            <a:off x="2452877" y="4416155"/>
            <a:ext cx="1715285" cy="169793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F09CB774-A8D2-41FD-827A-D5D7166E7FCA}"/>
              </a:ext>
            </a:extLst>
          </p:cNvPr>
          <p:cNvSpPr/>
          <p:nvPr/>
        </p:nvSpPr>
        <p:spPr>
          <a:xfrm>
            <a:off x="7306909" y="4430823"/>
            <a:ext cx="1667454" cy="157729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D9BAFD96-9576-49D0-8EF6-5E713CD86AC0}"/>
              </a:ext>
            </a:extLst>
          </p:cNvPr>
          <p:cNvSpPr/>
          <p:nvPr/>
        </p:nvSpPr>
        <p:spPr>
          <a:xfrm>
            <a:off x="7307518" y="1236895"/>
            <a:ext cx="1667454" cy="1384663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238853-7ED2-4D35-A77A-C165E0EE95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PA + ML life cyc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A4E62-1C65-4FC0-82B9-C88F1FB0B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950EEDC-4A31-4185-BC3A-4BE9E6C824D2}"/>
              </a:ext>
            </a:extLst>
          </p:cNvPr>
          <p:cNvSpPr/>
          <p:nvPr/>
        </p:nvSpPr>
        <p:spPr>
          <a:xfrm>
            <a:off x="2452877" y="1230708"/>
            <a:ext cx="1667454" cy="1384663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450A6E-87E5-484E-B30F-C129FB4555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769" y="1317578"/>
            <a:ext cx="1231230" cy="82469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127343C-25D4-4C09-A2E7-40BC30181196}"/>
              </a:ext>
            </a:extLst>
          </p:cNvPr>
          <p:cNvSpPr txBox="1"/>
          <p:nvPr/>
        </p:nvSpPr>
        <p:spPr>
          <a:xfrm>
            <a:off x="2793815" y="2272575"/>
            <a:ext cx="11341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Analyze Data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3DE48B9-5FFC-456B-8A65-33ED24984FD7}"/>
              </a:ext>
            </a:extLst>
          </p:cNvPr>
          <p:cNvGrpSpPr/>
          <p:nvPr/>
        </p:nvGrpSpPr>
        <p:grpSpPr>
          <a:xfrm>
            <a:off x="119946" y="1080259"/>
            <a:ext cx="1956469" cy="1697935"/>
            <a:chOff x="130629" y="1045029"/>
            <a:chExt cx="1956469" cy="1697935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94FAD70-4566-4AFA-B272-CF1CD0378C07}"/>
                </a:ext>
              </a:extLst>
            </p:cNvPr>
            <p:cNvSpPr/>
            <p:nvPr/>
          </p:nvSpPr>
          <p:spPr>
            <a:xfrm>
              <a:off x="130629" y="1045029"/>
              <a:ext cx="1956469" cy="1697935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1936CD6-57B5-4F23-B903-E825CB87E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1068" y="1190782"/>
              <a:ext cx="1779983" cy="1076822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C1A34C7-ED3F-41FD-9B8E-EE07CF9D299C}"/>
                </a:ext>
              </a:extLst>
            </p:cNvPr>
            <p:cNvSpPr txBox="1"/>
            <p:nvPr/>
          </p:nvSpPr>
          <p:spPr>
            <a:xfrm>
              <a:off x="314010" y="2357885"/>
              <a:ext cx="170191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Green-light for RPA</a:t>
              </a:r>
            </a:p>
          </p:txBody>
        </p:sp>
      </p:grpSp>
      <p:sp>
        <p:nvSpPr>
          <p:cNvPr id="16" name="Diamond 15">
            <a:extLst>
              <a:ext uri="{FF2B5EF4-FFF2-40B4-BE49-F238E27FC236}">
                <a16:creationId xmlns:a16="http://schemas.microsoft.com/office/drawing/2014/main" id="{7092C665-4D8A-4E81-916C-C867EE7F6B9E}"/>
              </a:ext>
            </a:extLst>
          </p:cNvPr>
          <p:cNvSpPr/>
          <p:nvPr/>
        </p:nvSpPr>
        <p:spPr>
          <a:xfrm>
            <a:off x="4878549" y="1125414"/>
            <a:ext cx="1667454" cy="1607626"/>
          </a:xfrm>
          <a:prstGeom prst="diamond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7F59525-8403-4C43-BE64-B76912259F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438" y="1480782"/>
            <a:ext cx="603533" cy="80406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19151C4-AD2B-41D5-9594-0BA5A23379F2}"/>
              </a:ext>
            </a:extLst>
          </p:cNvPr>
          <p:cNvSpPr txBox="1"/>
          <p:nvPr/>
        </p:nvSpPr>
        <p:spPr>
          <a:xfrm>
            <a:off x="4926147" y="867516"/>
            <a:ext cx="170373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Is this a ML problem?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9723B6-8123-4E94-B1BB-978555E637EB}"/>
              </a:ext>
            </a:extLst>
          </p:cNvPr>
          <p:cNvCxnSpPr>
            <a:stCxn id="13" idx="3"/>
            <a:endCxn id="14" idx="1"/>
          </p:cNvCxnSpPr>
          <p:nvPr/>
        </p:nvCxnSpPr>
        <p:spPr>
          <a:xfrm flipV="1">
            <a:off x="2076415" y="1923040"/>
            <a:ext cx="376462" cy="618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701AFFE4-030B-4BBC-B20C-DD0F604B4F2A}"/>
              </a:ext>
            </a:extLst>
          </p:cNvPr>
          <p:cNvCxnSpPr>
            <a:cxnSpLocks/>
            <a:stCxn id="14" idx="3"/>
            <a:endCxn id="16" idx="1"/>
          </p:cNvCxnSpPr>
          <p:nvPr/>
        </p:nvCxnSpPr>
        <p:spPr>
          <a:xfrm>
            <a:off x="4120331" y="1923040"/>
            <a:ext cx="758218" cy="618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2CA689F-3616-4382-BC95-50BA031F62C2}"/>
              </a:ext>
            </a:extLst>
          </p:cNvPr>
          <p:cNvCxnSpPr>
            <a:cxnSpLocks/>
            <a:stCxn id="16" idx="2"/>
            <a:endCxn id="33" idx="0"/>
          </p:cNvCxnSpPr>
          <p:nvPr/>
        </p:nvCxnSpPr>
        <p:spPr>
          <a:xfrm>
            <a:off x="5712276" y="2733040"/>
            <a:ext cx="3867" cy="40339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358EE8E-FCE2-41E0-A5D6-69D17CE45035}"/>
              </a:ext>
            </a:extLst>
          </p:cNvPr>
          <p:cNvGrpSpPr/>
          <p:nvPr/>
        </p:nvGrpSpPr>
        <p:grpSpPr>
          <a:xfrm>
            <a:off x="4718560" y="3136433"/>
            <a:ext cx="1995165" cy="1607626"/>
            <a:chOff x="5069956" y="3344689"/>
            <a:chExt cx="1995165" cy="1607626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7037113C-C82B-4FE8-BB36-8EB11C8C1CE8}"/>
                </a:ext>
              </a:extLst>
            </p:cNvPr>
            <p:cNvSpPr/>
            <p:nvPr/>
          </p:nvSpPr>
          <p:spPr>
            <a:xfrm>
              <a:off x="5069956" y="3344689"/>
              <a:ext cx="1995165" cy="1607626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677292F-7903-4647-A20B-702F9C1AD625}"/>
                </a:ext>
              </a:extLst>
            </p:cNvPr>
            <p:cNvSpPr txBox="1"/>
            <p:nvPr/>
          </p:nvSpPr>
          <p:spPr>
            <a:xfrm>
              <a:off x="5175950" y="4451274"/>
              <a:ext cx="1749678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/>
                <a:t>Integrate and apply to RPA</a:t>
              </a: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839E5212-5594-4243-879C-6E7504BB0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75950" y="3429598"/>
              <a:ext cx="1749678" cy="907495"/>
            </a:xfrm>
            <a:prstGeom prst="rect">
              <a:avLst/>
            </a:prstGeom>
          </p:spPr>
        </p:pic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722F1FE4-7B3B-462C-951E-7770E76A0DE1}"/>
              </a:ext>
            </a:extLst>
          </p:cNvPr>
          <p:cNvSpPr/>
          <p:nvPr/>
        </p:nvSpPr>
        <p:spPr>
          <a:xfrm>
            <a:off x="4447607" y="3017900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A3CE0F6-15B0-44D6-A3DC-EE536687A6E3}"/>
              </a:ext>
            </a:extLst>
          </p:cNvPr>
          <p:cNvSpPr txBox="1"/>
          <p:nvPr/>
        </p:nvSpPr>
        <p:spPr>
          <a:xfrm>
            <a:off x="5795130" y="2778188"/>
            <a:ext cx="304565" cy="2158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NO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C34B9E8-0E12-453C-860D-0580E1687F04}"/>
              </a:ext>
            </a:extLst>
          </p:cNvPr>
          <p:cNvSpPr txBox="1"/>
          <p:nvPr/>
        </p:nvSpPr>
        <p:spPr>
          <a:xfrm>
            <a:off x="6468731" y="1621774"/>
            <a:ext cx="44726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YES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25EBF4EE-BF47-40D8-AEF4-03796ECE09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07922" y="1278474"/>
            <a:ext cx="834784" cy="879454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C5722A5A-C38A-449E-B772-C6F2E92B070F}"/>
              </a:ext>
            </a:extLst>
          </p:cNvPr>
          <p:cNvSpPr txBox="1"/>
          <p:nvPr/>
        </p:nvSpPr>
        <p:spPr>
          <a:xfrm>
            <a:off x="7464687" y="2167332"/>
            <a:ext cx="13212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Select, train and tune ML model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DD49EFF-E7D0-4A4E-A614-AFF839AD6297}"/>
              </a:ext>
            </a:extLst>
          </p:cNvPr>
          <p:cNvCxnSpPr>
            <a:cxnSpLocks/>
            <a:stCxn id="16" idx="3"/>
            <a:endCxn id="49" idx="1"/>
          </p:cNvCxnSpPr>
          <p:nvPr/>
        </p:nvCxnSpPr>
        <p:spPr>
          <a:xfrm>
            <a:off x="6546003" y="1929227"/>
            <a:ext cx="76151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5" name="Picture 54">
            <a:extLst>
              <a:ext uri="{FF2B5EF4-FFF2-40B4-BE49-F238E27FC236}">
                <a16:creationId xmlns:a16="http://schemas.microsoft.com/office/drawing/2014/main" id="{67322F78-4EAD-4F04-A5D2-84BC19FC7F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25132" y="4485737"/>
            <a:ext cx="1031007" cy="1043696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4279EE33-CE1F-4B38-A08B-0E3A1A8488F5}"/>
              </a:ext>
            </a:extLst>
          </p:cNvPr>
          <p:cNvSpPr txBox="1"/>
          <p:nvPr/>
        </p:nvSpPr>
        <p:spPr>
          <a:xfrm>
            <a:off x="7306910" y="5529433"/>
            <a:ext cx="16674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Deploy and test models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5477FBD8-A8B4-4B82-AEB6-FE1CDBA0C439}"/>
              </a:ext>
            </a:extLst>
          </p:cNvPr>
          <p:cNvCxnSpPr>
            <a:cxnSpLocks/>
            <a:stCxn id="49" idx="2"/>
            <a:endCxn id="61" idx="0"/>
          </p:cNvCxnSpPr>
          <p:nvPr/>
        </p:nvCxnSpPr>
        <p:spPr>
          <a:xfrm flipH="1">
            <a:off x="8140636" y="2621558"/>
            <a:ext cx="609" cy="180926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8" name="Picture 67">
            <a:extLst>
              <a:ext uri="{FF2B5EF4-FFF2-40B4-BE49-F238E27FC236}">
                <a16:creationId xmlns:a16="http://schemas.microsoft.com/office/drawing/2014/main" id="{690D36A9-8F9F-4165-BE5F-73CCC73E45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00352" y="4543507"/>
            <a:ext cx="1172504" cy="977787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395D8062-0351-4D22-B6E8-056985064251}"/>
              </a:ext>
            </a:extLst>
          </p:cNvPr>
          <p:cNvSpPr txBox="1"/>
          <p:nvPr/>
        </p:nvSpPr>
        <p:spPr>
          <a:xfrm>
            <a:off x="2476791" y="5547629"/>
            <a:ext cx="16674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Operate, monitor and maintain model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367D159-D3DA-44F8-86C5-29AE30BBBD64}"/>
              </a:ext>
            </a:extLst>
          </p:cNvPr>
          <p:cNvCxnSpPr>
            <a:cxnSpLocks/>
            <a:stCxn id="61" idx="1"/>
            <a:endCxn id="70" idx="3"/>
          </p:cNvCxnSpPr>
          <p:nvPr/>
        </p:nvCxnSpPr>
        <p:spPr>
          <a:xfrm flipH="1">
            <a:off x="4168162" y="5219470"/>
            <a:ext cx="3138747" cy="4565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8188D6DE-3FF8-462A-97BF-7C1682D96ECC}"/>
              </a:ext>
            </a:extLst>
          </p:cNvPr>
          <p:cNvCxnSpPr>
            <a:cxnSpLocks/>
            <a:stCxn id="70" idx="0"/>
            <a:endCxn id="14" idx="2"/>
          </p:cNvCxnSpPr>
          <p:nvPr/>
        </p:nvCxnSpPr>
        <p:spPr>
          <a:xfrm flipH="1" flipV="1">
            <a:off x="3286604" y="2615371"/>
            <a:ext cx="23916" cy="180078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403F6ABB-664A-472C-83BC-9A8FD7A47FC9}"/>
              </a:ext>
            </a:extLst>
          </p:cNvPr>
          <p:cNvCxnSpPr>
            <a:cxnSpLocks/>
            <a:endCxn id="33" idx="1"/>
          </p:cNvCxnSpPr>
          <p:nvPr/>
        </p:nvCxnSpPr>
        <p:spPr>
          <a:xfrm>
            <a:off x="3312384" y="3940246"/>
            <a:ext cx="140617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0DB34289-4739-44B3-A0AE-3D921884B35A}"/>
              </a:ext>
            </a:extLst>
          </p:cNvPr>
          <p:cNvCxnSpPr>
            <a:cxnSpLocks/>
            <a:stCxn id="33" idx="3"/>
          </p:cNvCxnSpPr>
          <p:nvPr/>
        </p:nvCxnSpPr>
        <p:spPr>
          <a:xfrm>
            <a:off x="6713725" y="3940246"/>
            <a:ext cx="142691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069E8D55-CDD6-4211-A56C-D368560AD8A9}"/>
              </a:ext>
            </a:extLst>
          </p:cNvPr>
          <p:cNvSpPr/>
          <p:nvPr/>
        </p:nvSpPr>
        <p:spPr>
          <a:xfrm>
            <a:off x="561066" y="6566537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1. SPA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B3D3DBB5-EC05-4107-B63E-FE9A04877840}"/>
              </a:ext>
            </a:extLst>
          </p:cNvPr>
          <p:cNvSpPr/>
          <p:nvPr/>
        </p:nvSpPr>
        <p:spPr>
          <a:xfrm>
            <a:off x="217650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2. Why RPA + ML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0DBC0118-235F-44B8-9B30-3C0F394D184D}"/>
              </a:ext>
            </a:extLst>
          </p:cNvPr>
          <p:cNvSpPr/>
          <p:nvPr/>
        </p:nvSpPr>
        <p:spPr>
          <a:xfrm>
            <a:off x="379194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3. RPA 2.0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22F0AF3-7ECE-4211-9FE3-A4779404C74E}"/>
              </a:ext>
            </a:extLst>
          </p:cNvPr>
          <p:cNvSpPr/>
          <p:nvPr/>
        </p:nvSpPr>
        <p:spPr>
          <a:xfrm>
            <a:off x="5407386" y="6566536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4. Use cases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FA4031B6-DD94-49AD-8EE4-3A3B0CBAFE91}"/>
              </a:ext>
            </a:extLst>
          </p:cNvPr>
          <p:cNvSpPr/>
          <p:nvPr/>
        </p:nvSpPr>
        <p:spPr>
          <a:xfrm>
            <a:off x="7024626" y="6566535"/>
            <a:ext cx="1572534" cy="27489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5. Initiate RPA + ML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D7584AF1-00AC-4736-8FCD-760E0DC67166}"/>
              </a:ext>
            </a:extLst>
          </p:cNvPr>
          <p:cNvSpPr/>
          <p:nvPr/>
        </p:nvSpPr>
        <p:spPr>
          <a:xfrm>
            <a:off x="1" y="-29171"/>
            <a:ext cx="2369820" cy="34887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966715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51D480-7C3F-476B-844C-5F97F78B1B6F}"/>
              </a:ext>
            </a:extLst>
          </p:cNvPr>
          <p:cNvSpPr/>
          <p:nvPr/>
        </p:nvSpPr>
        <p:spPr>
          <a:xfrm>
            <a:off x="2995185" y="1262419"/>
            <a:ext cx="2967714" cy="4558352"/>
          </a:xfrm>
          <a:prstGeom prst="rect">
            <a:avLst/>
          </a:prstGeom>
          <a:ln>
            <a:solidFill>
              <a:srgbClr val="FF0000"/>
            </a:solidFill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2C360A-F4F5-484B-9103-8353739D5817}"/>
              </a:ext>
            </a:extLst>
          </p:cNvPr>
          <p:cNvSpPr/>
          <p:nvPr/>
        </p:nvSpPr>
        <p:spPr>
          <a:xfrm>
            <a:off x="6035453" y="1262419"/>
            <a:ext cx="2967714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2EE2258A-F5EB-4AE2-84EB-BF4D17583300}"/>
              </a:ext>
            </a:extLst>
          </p:cNvPr>
          <p:cNvSpPr/>
          <p:nvPr/>
        </p:nvSpPr>
        <p:spPr>
          <a:xfrm>
            <a:off x="5550597" y="2901698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3B8E13-1545-4E9F-9B22-9F7F115AA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379C514-6F0B-4CD1-A6CC-FC8C714B6790}"/>
              </a:ext>
            </a:extLst>
          </p:cNvPr>
          <p:cNvSpPr txBox="1">
            <a:spLocks/>
          </p:cNvSpPr>
          <p:nvPr/>
        </p:nvSpPr>
        <p:spPr>
          <a:xfrm>
            <a:off x="219583" y="720449"/>
            <a:ext cx="8704834" cy="3101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000" indent="-342000" algn="l" defTabSz="914400" rtl="0" eaLnBrk="1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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22800" indent="-26640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0000" indent="-2772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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166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6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8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80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52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400" indent="-266400" algn="l" defTabSz="914400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lvl="0" indent="0" algn="ctr">
              <a:buFont typeface="Wingdings" panose="05000000000000000000" pitchFamily="2" charset="2"/>
              <a:buNone/>
            </a:pPr>
            <a:r>
              <a:rPr lang="en-US" dirty="0">
                <a:solidFill>
                  <a:srgbClr val="FF0000"/>
                </a:solidFill>
              </a:rPr>
              <a:t>B.</a:t>
            </a:r>
            <a:r>
              <a:rPr lang="en-US" dirty="0"/>
              <a:t> Summarize and classify documents then send feedback/repor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B0F86E-F204-4C1B-8A79-24815E61F16E}"/>
              </a:ext>
            </a:extLst>
          </p:cNvPr>
          <p:cNvSpPr/>
          <p:nvPr/>
        </p:nvSpPr>
        <p:spPr>
          <a:xfrm>
            <a:off x="86507" y="1262419"/>
            <a:ext cx="2852543" cy="4558352"/>
          </a:xfrm>
          <a:prstGeom prst="rect">
            <a:avLst/>
          </a:prstGeom>
          <a:ln>
            <a:prstDash val="lgDash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05F9F35-5E55-4D86-9BC1-36CF3A29C8FE}"/>
              </a:ext>
            </a:extLst>
          </p:cNvPr>
          <p:cNvSpPr/>
          <p:nvPr/>
        </p:nvSpPr>
        <p:spPr>
          <a:xfrm>
            <a:off x="2522012" y="2889565"/>
            <a:ext cx="914400" cy="96318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phic 10" descr="Download from cloud">
            <a:extLst>
              <a:ext uri="{FF2B5EF4-FFF2-40B4-BE49-F238E27FC236}">
                <a16:creationId xmlns:a16="http://schemas.microsoft.com/office/drawing/2014/main" id="{97A249AE-F4ED-4CCE-80D2-8DA66B3058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2739" y="1368811"/>
            <a:ext cx="914400" cy="914400"/>
          </a:xfrm>
          <a:prstGeom prst="rect">
            <a:avLst/>
          </a:prstGeom>
        </p:spPr>
      </p:pic>
      <p:pic>
        <p:nvPicPr>
          <p:cNvPr id="12" name="Graphic 11" descr="Email">
            <a:extLst>
              <a:ext uri="{FF2B5EF4-FFF2-40B4-BE49-F238E27FC236}">
                <a16:creationId xmlns:a16="http://schemas.microsoft.com/office/drawing/2014/main" id="{68C6096C-EC56-4A3F-8446-16A8D68DA2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2169" y="2908028"/>
            <a:ext cx="914400" cy="914400"/>
          </a:xfrm>
          <a:prstGeom prst="rect">
            <a:avLst/>
          </a:prstGeom>
        </p:spPr>
      </p:pic>
      <p:pic>
        <p:nvPicPr>
          <p:cNvPr id="13" name="Graphic 12" descr="Bar chart">
            <a:extLst>
              <a:ext uri="{FF2B5EF4-FFF2-40B4-BE49-F238E27FC236}">
                <a16:creationId xmlns:a16="http://schemas.microsoft.com/office/drawing/2014/main" id="{7A766DBD-A8F6-4704-9A4D-C03B9C5917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19781" y="4540157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602C20A-3F6B-44BB-BF92-F8AA68C44510}"/>
              </a:ext>
            </a:extLst>
          </p:cNvPr>
          <p:cNvSpPr txBox="1"/>
          <p:nvPr/>
        </p:nvSpPr>
        <p:spPr>
          <a:xfrm>
            <a:off x="465340" y="2283211"/>
            <a:ext cx="140262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In-house system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A6B22B-7274-40D6-AFF8-D060DAF6C4C9}"/>
              </a:ext>
            </a:extLst>
          </p:cNvPr>
          <p:cNvSpPr txBox="1"/>
          <p:nvPr/>
        </p:nvSpPr>
        <p:spPr>
          <a:xfrm>
            <a:off x="161571" y="3884088"/>
            <a:ext cx="201016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Communication channel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18BB47-E6DF-4355-838B-64F27DE959DE}"/>
              </a:ext>
            </a:extLst>
          </p:cNvPr>
          <p:cNvSpPr txBox="1"/>
          <p:nvPr/>
        </p:nvSpPr>
        <p:spPr>
          <a:xfrm>
            <a:off x="870866" y="5278194"/>
            <a:ext cx="53700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/>
              <a:t>Other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13B39EC-DAF2-41D1-8133-7840E1201A68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1617139" y="1826011"/>
            <a:ext cx="824024" cy="119879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A936D4C-0BB7-4AB2-B731-EC47A1A8C4A3}"/>
              </a:ext>
            </a:extLst>
          </p:cNvPr>
          <p:cNvCxnSpPr>
            <a:cxnSpLocks/>
          </p:cNvCxnSpPr>
          <p:nvPr/>
        </p:nvCxnSpPr>
        <p:spPr>
          <a:xfrm flipV="1">
            <a:off x="1596569" y="3714329"/>
            <a:ext cx="844594" cy="114178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10CC6AD-4910-4E0B-BFEA-E004237E1230}"/>
              </a:ext>
            </a:extLst>
          </p:cNvPr>
          <p:cNvCxnSpPr>
            <a:cxnSpLocks/>
            <a:stCxn id="12" idx="3"/>
            <a:endCxn id="37" idx="1"/>
          </p:cNvCxnSpPr>
          <p:nvPr/>
        </p:nvCxnSpPr>
        <p:spPr>
          <a:xfrm>
            <a:off x="1596569" y="3365228"/>
            <a:ext cx="865174" cy="1806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24" name="Graphic 23" descr="Team">
            <a:extLst>
              <a:ext uri="{FF2B5EF4-FFF2-40B4-BE49-F238E27FC236}">
                <a16:creationId xmlns:a16="http://schemas.microsoft.com/office/drawing/2014/main" id="{3312A2F1-F520-455B-B401-6CDD37522F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19781" y="1390327"/>
            <a:ext cx="914400" cy="914400"/>
          </a:xfrm>
          <a:prstGeom prst="rect">
            <a:avLst/>
          </a:prstGeom>
        </p:spPr>
      </p:pic>
      <p:pic>
        <p:nvPicPr>
          <p:cNvPr id="26" name="Graphic 25" descr="Meeting">
            <a:extLst>
              <a:ext uri="{FF2B5EF4-FFF2-40B4-BE49-F238E27FC236}">
                <a16:creationId xmlns:a16="http://schemas.microsoft.com/office/drawing/2014/main" id="{89DE7A35-303F-495A-811D-26EF51E7DBF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32960" y="3023693"/>
            <a:ext cx="914400" cy="9144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CEAE12A-BA88-4D2A-9CC5-59058D88C3F1}"/>
              </a:ext>
            </a:extLst>
          </p:cNvPr>
          <p:cNvSpPr txBox="1"/>
          <p:nvPr/>
        </p:nvSpPr>
        <p:spPr>
          <a:xfrm>
            <a:off x="7091117" y="2350323"/>
            <a:ext cx="117173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Case’s owne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5C9E71F-8B45-4E3F-9C14-0EE0A16EF2FF}"/>
              </a:ext>
            </a:extLst>
          </p:cNvPr>
          <p:cNvSpPr txBox="1"/>
          <p:nvPr/>
        </p:nvSpPr>
        <p:spPr>
          <a:xfrm>
            <a:off x="7422871" y="3915972"/>
            <a:ext cx="54822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Client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2C67256-6A11-4D03-8D9F-EF1ED8516937}"/>
              </a:ext>
            </a:extLst>
          </p:cNvPr>
          <p:cNvSpPr txBox="1"/>
          <p:nvPr/>
        </p:nvSpPr>
        <p:spPr>
          <a:xfrm>
            <a:off x="7129897" y="5473340"/>
            <a:ext cx="10948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BI Dashboard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0373354E-5AB9-4EDE-9A8D-198107CABEB3}"/>
              </a:ext>
            </a:extLst>
          </p:cNvPr>
          <p:cNvCxnSpPr>
            <a:cxnSpLocks/>
            <a:stCxn id="53" idx="3"/>
            <a:endCxn id="24" idx="1"/>
          </p:cNvCxnSpPr>
          <p:nvPr/>
        </p:nvCxnSpPr>
        <p:spPr>
          <a:xfrm>
            <a:off x="4693638" y="1847527"/>
            <a:ext cx="2526143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961A490-04DC-4D39-8FA1-04A2EED0DD15}"/>
              </a:ext>
            </a:extLst>
          </p:cNvPr>
          <p:cNvCxnSpPr>
            <a:cxnSpLocks/>
            <a:stCxn id="75" idx="3"/>
            <a:endCxn id="26" idx="1"/>
          </p:cNvCxnSpPr>
          <p:nvPr/>
        </p:nvCxnSpPr>
        <p:spPr>
          <a:xfrm flipV="1">
            <a:off x="6447858" y="3480893"/>
            <a:ext cx="785102" cy="525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4B28071-C7D4-490D-B22A-DCB98F5F39B7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4714283" y="5013597"/>
            <a:ext cx="241561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B08090C5-EFDA-4EA8-B9AE-356B2438AB98}"/>
              </a:ext>
            </a:extLst>
          </p:cNvPr>
          <p:cNvSpPr txBox="1"/>
          <p:nvPr/>
        </p:nvSpPr>
        <p:spPr>
          <a:xfrm>
            <a:off x="1674607" y="5952412"/>
            <a:ext cx="73154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accent1"/>
                </a:solidFill>
              </a:rPr>
              <a:t>RP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F784042-9327-43CB-8310-B35B0B46EACC}"/>
              </a:ext>
            </a:extLst>
          </p:cNvPr>
          <p:cNvSpPr txBox="1"/>
          <p:nvPr/>
        </p:nvSpPr>
        <p:spPr>
          <a:xfrm>
            <a:off x="7402634" y="5952412"/>
            <a:ext cx="73154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accent1"/>
                </a:solidFill>
              </a:rPr>
              <a:t>RPA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F756066-7C78-4B72-BA2D-4C512062F5FF}"/>
              </a:ext>
            </a:extLst>
          </p:cNvPr>
          <p:cNvSpPr txBox="1"/>
          <p:nvPr/>
        </p:nvSpPr>
        <p:spPr>
          <a:xfrm>
            <a:off x="4651854" y="5954807"/>
            <a:ext cx="51937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b="1" dirty="0">
                <a:solidFill>
                  <a:srgbClr val="FF0000"/>
                </a:solidFill>
              </a:rPr>
              <a:t>M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749F575-13DB-42CA-966F-31028AD9D66C}"/>
              </a:ext>
            </a:extLst>
          </p:cNvPr>
          <p:cNvSpPr txBox="1"/>
          <p:nvPr/>
        </p:nvSpPr>
        <p:spPr>
          <a:xfrm>
            <a:off x="2439485" y="3822428"/>
            <a:ext cx="1134926" cy="43088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Consolidating </a:t>
            </a:r>
            <a:br>
              <a:rPr lang="en-US" sz="1400" dirty="0"/>
            </a:br>
            <a:r>
              <a:rPr lang="en-US" sz="1400" dirty="0"/>
              <a:t>database</a:t>
            </a:r>
          </a:p>
        </p:txBody>
      </p:sp>
      <p:pic>
        <p:nvPicPr>
          <p:cNvPr id="37" name="Graphic 36" descr="Database">
            <a:extLst>
              <a:ext uri="{FF2B5EF4-FFF2-40B4-BE49-F238E27FC236}">
                <a16:creationId xmlns:a16="http://schemas.microsoft.com/office/drawing/2014/main" id="{A062FC7B-AA0B-4958-AE17-410B1E668E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461743" y="2926091"/>
            <a:ext cx="914400" cy="914400"/>
          </a:xfrm>
          <a:prstGeom prst="rect">
            <a:avLst/>
          </a:prstGeom>
        </p:spPr>
      </p:pic>
      <p:pic>
        <p:nvPicPr>
          <p:cNvPr id="39" name="Graphic 38" descr="Document">
            <a:extLst>
              <a:ext uri="{FF2B5EF4-FFF2-40B4-BE49-F238E27FC236}">
                <a16:creationId xmlns:a16="http://schemas.microsoft.com/office/drawing/2014/main" id="{10824078-F7B0-40AC-B4D9-CED9BA90854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6960" y="4339875"/>
            <a:ext cx="914400" cy="914400"/>
          </a:xfrm>
          <a:prstGeom prst="rect">
            <a:avLst/>
          </a:prstGeom>
        </p:spPr>
      </p:pic>
      <p:pic>
        <p:nvPicPr>
          <p:cNvPr id="47" name="Graphic 46" descr="Smiling Face with No Fill">
            <a:extLst>
              <a:ext uri="{FF2B5EF4-FFF2-40B4-BE49-F238E27FC236}">
                <a16:creationId xmlns:a16="http://schemas.microsoft.com/office/drawing/2014/main" id="{1C6ECFE1-A04A-4A33-9CB9-ED8E5F65C5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799883" y="4556397"/>
            <a:ext cx="914400" cy="914400"/>
          </a:xfrm>
          <a:prstGeom prst="rect">
            <a:avLst/>
          </a:prstGeom>
        </p:spPr>
      </p:pic>
      <p:pic>
        <p:nvPicPr>
          <p:cNvPr id="51" name="Graphic 50" descr="Gears">
            <a:extLst>
              <a:ext uri="{FF2B5EF4-FFF2-40B4-BE49-F238E27FC236}">
                <a16:creationId xmlns:a16="http://schemas.microsoft.com/office/drawing/2014/main" id="{B5F623C5-417C-4A17-B4C2-5740028A721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788277" y="3033256"/>
            <a:ext cx="914400" cy="914400"/>
          </a:xfrm>
          <a:prstGeom prst="rect">
            <a:avLst/>
          </a:prstGeom>
        </p:spPr>
      </p:pic>
      <p:pic>
        <p:nvPicPr>
          <p:cNvPr id="53" name="Graphic 52" descr="Contract">
            <a:extLst>
              <a:ext uri="{FF2B5EF4-FFF2-40B4-BE49-F238E27FC236}">
                <a16:creationId xmlns:a16="http://schemas.microsoft.com/office/drawing/2014/main" id="{DE811710-0065-4558-8212-94DD78778AF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779238" y="1390327"/>
            <a:ext cx="914400" cy="914400"/>
          </a:xfrm>
          <a:prstGeom prst="rect">
            <a:avLst/>
          </a:prstGeom>
        </p:spPr>
      </p:pic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61C46EED-47EB-451C-B227-8691D85604C1}"/>
              </a:ext>
            </a:extLst>
          </p:cNvPr>
          <p:cNvCxnSpPr>
            <a:cxnSpLocks/>
            <a:stCxn id="37" idx="3"/>
            <a:endCxn id="53" idx="1"/>
          </p:cNvCxnSpPr>
          <p:nvPr/>
        </p:nvCxnSpPr>
        <p:spPr>
          <a:xfrm flipV="1">
            <a:off x="3376143" y="1847527"/>
            <a:ext cx="403095" cy="153576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55EB0A65-9595-4BCD-96BC-1316D4FB26F3}"/>
              </a:ext>
            </a:extLst>
          </p:cNvPr>
          <p:cNvSpPr txBox="1"/>
          <p:nvPr/>
        </p:nvSpPr>
        <p:spPr>
          <a:xfrm>
            <a:off x="3767469" y="2388667"/>
            <a:ext cx="905697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Summariz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D58B2E9-8295-4CB1-89AB-AADF736854CC}"/>
              </a:ext>
            </a:extLst>
          </p:cNvPr>
          <p:cNvSpPr txBox="1"/>
          <p:nvPr/>
        </p:nvSpPr>
        <p:spPr>
          <a:xfrm>
            <a:off x="3957453" y="3930149"/>
            <a:ext cx="628377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Classify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93B0131-F620-4061-A1FC-B59E20F567D9}"/>
              </a:ext>
            </a:extLst>
          </p:cNvPr>
          <p:cNvSpPr txBox="1"/>
          <p:nvPr/>
        </p:nvSpPr>
        <p:spPr>
          <a:xfrm>
            <a:off x="3512096" y="5411735"/>
            <a:ext cx="1503617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Sentiment analysis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302C73F4-8283-4D3B-8391-3DD075FAA94F}"/>
              </a:ext>
            </a:extLst>
          </p:cNvPr>
          <p:cNvCxnSpPr>
            <a:cxnSpLocks/>
          </p:cNvCxnSpPr>
          <p:nvPr/>
        </p:nvCxnSpPr>
        <p:spPr>
          <a:xfrm>
            <a:off x="4220601" y="2626921"/>
            <a:ext cx="7737" cy="36678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4D8CB38-B4DF-42F2-867A-F017E82D816D}"/>
              </a:ext>
            </a:extLst>
          </p:cNvPr>
          <p:cNvCxnSpPr>
            <a:cxnSpLocks/>
          </p:cNvCxnSpPr>
          <p:nvPr/>
        </p:nvCxnSpPr>
        <p:spPr>
          <a:xfrm>
            <a:off x="4263905" y="4253315"/>
            <a:ext cx="7737" cy="36678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75" name="Graphic 74" descr="Open envelope">
            <a:extLst>
              <a:ext uri="{FF2B5EF4-FFF2-40B4-BE49-F238E27FC236}">
                <a16:creationId xmlns:a16="http://schemas.microsoft.com/office/drawing/2014/main" id="{FB5E594A-BA13-4E83-840D-296595F338D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533458" y="3028945"/>
            <a:ext cx="914400" cy="914400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7E5C5D23-F4D7-45C5-B183-85DEDDCCCAA2}"/>
              </a:ext>
            </a:extLst>
          </p:cNvPr>
          <p:cNvSpPr txBox="1"/>
          <p:nvPr/>
        </p:nvSpPr>
        <p:spPr>
          <a:xfrm>
            <a:off x="5583014" y="3998347"/>
            <a:ext cx="815288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dirty="0"/>
              <a:t>Templates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4F20D65C-CC9C-4DD9-B0AE-F44FE02FE805}"/>
              </a:ext>
            </a:extLst>
          </p:cNvPr>
          <p:cNvCxnSpPr>
            <a:cxnSpLocks/>
            <a:stCxn id="51" idx="3"/>
            <a:endCxn id="75" idx="1"/>
          </p:cNvCxnSpPr>
          <p:nvPr/>
        </p:nvCxnSpPr>
        <p:spPr>
          <a:xfrm flipV="1">
            <a:off x="4702677" y="3486145"/>
            <a:ext cx="830781" cy="431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2D38C20B-46F6-41D0-B9A3-D701542D3FF6}"/>
              </a:ext>
            </a:extLst>
          </p:cNvPr>
          <p:cNvSpPr/>
          <p:nvPr/>
        </p:nvSpPr>
        <p:spPr>
          <a:xfrm>
            <a:off x="1" y="-29171"/>
            <a:ext cx="2369820" cy="34887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22458161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7" grpId="0" animBg="1"/>
      <p:bldP spid="14" grpId="0"/>
      <p:bldP spid="15" grpId="0"/>
      <p:bldP spid="16" grpId="0"/>
      <p:bldP spid="27" grpId="0"/>
      <p:bldP spid="28" grpId="0"/>
      <p:bldP spid="29" grpId="0"/>
      <p:bldP spid="33" grpId="0"/>
      <p:bldP spid="34" grpId="0"/>
      <p:bldP spid="35" grpId="0"/>
      <p:bldP spid="36" grpId="0" animBg="1"/>
      <p:bldP spid="60" grpId="0" animBg="1"/>
      <p:bldP spid="61" grpId="0" animBg="1"/>
      <p:bldP spid="62" grpId="0" animBg="1"/>
      <p:bldP spid="8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5168E7B-6D42-4B3A-B7A1-17D4C49EC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A030C2-9F23-4593-9F99-7B73C232A4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00" r="12601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8CA23A5-EB13-4C0E-8BA8-C7115B92E8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4824" y="2163253"/>
            <a:ext cx="5054352" cy="1790939"/>
          </a:xfrm>
        </p:spPr>
        <p:txBody>
          <a:bodyPr anchor="b">
            <a:normAutofit/>
          </a:bodyPr>
          <a:lstStyle/>
          <a:p>
            <a:r>
              <a:rPr lang="en-US" sz="4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 on RPA &amp; ML</a:t>
            </a:r>
            <a:endParaRPr lang="de-DE" sz="4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9636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5F24144-385F-4110-A2FF-CB7CB5CBB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795337"/>
            <a:ext cx="8001000" cy="5267325"/>
          </a:xfrm>
          <a:prstGeom prst="rect">
            <a:avLst/>
          </a:prstGeom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37C70EB0-3E6F-4EAC-94E8-A48CA6803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fld id="{82EA1D04-CA53-4DE3-84A8-2B63E41036C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8921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F4D18E-BCCE-4679-8F92-FC73F7406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245B95C-6973-4D60-A119-A53B006FEA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5718" y="1387663"/>
            <a:ext cx="6898943" cy="421834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C2485B0-C87F-4F7A-9448-3C84CFDB2810}"/>
              </a:ext>
            </a:extLst>
          </p:cNvPr>
          <p:cNvSpPr txBox="1"/>
          <p:nvPr/>
        </p:nvSpPr>
        <p:spPr>
          <a:xfrm>
            <a:off x="3859462" y="5789119"/>
            <a:ext cx="154792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RPA’s approach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978881-4836-4CBB-9F60-953A5E625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obotic Process Automation’s approach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6598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42D66D-E9F1-4F02-A4BA-91BD8D20B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5361F4D-D912-4352-B7F0-22B9E21353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8015" y="1291542"/>
            <a:ext cx="7009179" cy="44239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866E784-64E2-43A5-93DC-A58917A25D5C}"/>
              </a:ext>
            </a:extLst>
          </p:cNvPr>
          <p:cNvSpPr txBox="1"/>
          <p:nvPr/>
        </p:nvSpPr>
        <p:spPr>
          <a:xfrm>
            <a:off x="3960090" y="5884946"/>
            <a:ext cx="142853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L’s approach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9AE859-5F42-4A07-84AD-6DE8E47C7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chine Learning’s approach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92220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3962611-DFD5-4092-AAFD-559E3DFCE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6616" y="0"/>
            <a:ext cx="8182719" cy="6858000"/>
          </a:xfrm>
          <a:prstGeom prst="rect">
            <a:avLst/>
          </a:prstGeom>
          <a:gradFill>
            <a:gsLst>
              <a:gs pos="0">
                <a:schemeClr val="accent6">
                  <a:lumMod val="90000"/>
                </a:schemeClr>
              </a:gs>
              <a:gs pos="25000">
                <a:schemeClr val="accent6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270F1FA-0425-408F-9861-80BF5AFB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39031-7BF7-4508-9C99-A8C5FFDF6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19447" y="6223702"/>
            <a:ext cx="428046" cy="31406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82EA1D04-CA53-4DE3-84A8-2B63E41036C9}" type="slidenum">
              <a:rPr lang="en-US" sz="8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spcAft>
                  <a:spcPts val="600"/>
                </a:spcAft>
              </a:pPr>
              <a:t>8</a:t>
            </a:fld>
            <a:endParaRPr lang="en-US" sz="800">
              <a:solidFill>
                <a:srgbClr val="8989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DA1946-E559-4514-8779-1DCB565FC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4026" y="2043663"/>
            <a:ext cx="4578895" cy="2031055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defTabSz="914400"/>
            <a:r>
              <a:rPr lang="en-US" sz="5400" kern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introduction</a:t>
            </a:r>
          </a:p>
        </p:txBody>
      </p:sp>
    </p:spTree>
    <p:extLst>
      <p:ext uri="{BB962C8B-B14F-4D97-AF65-F5344CB8AC3E}">
        <p14:creationId xmlns:p14="http://schemas.microsoft.com/office/powerpoint/2010/main" val="21552966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-1"/>
            <a:ext cx="3302781" cy="68580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486469" y="0"/>
            <a:ext cx="1827609" cy="6858001"/>
            <a:chOff x="1320800" y="0"/>
            <a:chExt cx="2436813" cy="6858001"/>
          </a:xfrm>
        </p:grpSpPr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24C70A38-1EE5-4BA7-83D2-40AAB42E2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13" y="685800"/>
            <a:ext cx="2419356" cy="5105400"/>
          </a:xfrm>
        </p:spPr>
        <p:txBody>
          <a:bodyPr vert="horz" lIns="91440" tIns="45720" rIns="91440" bIns="45720" rtlCol="0">
            <a:normAutofit/>
          </a:bodyPr>
          <a:lstStyle/>
          <a:p>
            <a:pPr defTabSz="914400"/>
            <a:r>
              <a:rPr lang="en-US" sz="3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background</a:t>
            </a:r>
          </a:p>
        </p:txBody>
      </p:sp>
      <p:graphicFrame>
        <p:nvGraphicFramePr>
          <p:cNvPr id="33" name="Content Placeholder 3">
            <a:extLst>
              <a:ext uri="{FF2B5EF4-FFF2-40B4-BE49-F238E27FC236}">
                <a16:creationId xmlns:a16="http://schemas.microsoft.com/office/drawing/2014/main" id="{FD4D411F-19D8-49D0-914F-203BB32698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7281365"/>
              </p:ext>
            </p:extLst>
          </p:nvPr>
        </p:nvGraphicFramePr>
        <p:xfrm>
          <a:off x="3757612" y="685800"/>
          <a:ext cx="4869656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726707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BASF_WIZARD_LOGO2015" val="1"/>
  <p:tag name="_BASF_WIZARD_VERSION" val="10.1.2"/>
  <p:tag name="_BASF_CONVERTED_TO_TAGS" val="1"/>
  <p:tag name="_TP_TITELFOLIE_WIDTH" val="460"/>
  <p:tag name="_TP_TITELFOLIE_VISIB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TitelDesign_V10">
  <a:themeElements>
    <a:clrScheme name="06 BASF orange_colorsheme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925900"/>
    </a:custClr>
    <a:custClr>
      <a:srgbClr val="C27700"/>
    </a:custClr>
    <a:custClr>
      <a:srgbClr val="F39500"/>
    </a:custClr>
    <a:custClr>
      <a:srgbClr val="F5AA33"/>
    </a:custClr>
    <a:custClr>
      <a:srgbClr val="F8BF66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76000E"/>
    </a:custClr>
    <a:custClr>
      <a:srgbClr val="9E0013"/>
    </a:custClr>
    <a:custClr>
      <a:srgbClr val="C50022"/>
    </a:custClr>
    <a:custClr>
      <a:srgbClr val="D13346"/>
    </a:custClr>
    <a:custClr>
      <a:srgbClr val="DC6674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14607E"/>
    </a:custClr>
    <a:custClr>
      <a:srgbClr val="1A80A8"/>
    </a:custClr>
    <a:custClr>
      <a:srgbClr val="21A0D2"/>
    </a:custClr>
    <a:custClr>
      <a:srgbClr val="4DB3DB"/>
    </a:custClr>
    <a:custClr>
      <a:srgbClr val="7AC6E4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3D6712"/>
    </a:custClr>
    <a:custClr>
      <a:srgbClr val="518A18"/>
    </a:custClr>
    <a:custClr>
      <a:srgbClr val="65AC1E"/>
    </a:custClr>
    <a:custClr>
      <a:srgbClr val="84BD4B"/>
    </a:custClr>
    <a:custClr>
      <a:srgbClr val="A3CD78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923"/>
    </a:custClr>
    <a:custClr>
      <a:srgbClr val="00612E"/>
    </a:custClr>
    <a:custClr>
      <a:srgbClr val="00793A"/>
    </a:custClr>
    <a:custClr>
      <a:srgbClr val="339461"/>
    </a:custClr>
    <a:custClr>
      <a:srgbClr val="66AF89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esentation3" id="{12DB8B05-5838-4D34-98C2-70B82FAC6FAE}" vid="{A37437D8-5ADE-41D3-B99C-4EE289287C3C}"/>
    </a:ext>
  </a:extLst>
</a:theme>
</file>

<file path=ppt/theme/theme2.xml><?xml version="1.0" encoding="utf-8"?>
<a:theme xmlns:a="http://schemas.openxmlformats.org/drawingml/2006/main" name="BASF_FolienDesign_V10">
  <a:themeElements>
    <a:clrScheme name="Benutzerdefiniert 5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925900"/>
    </a:custClr>
    <a:custClr>
      <a:srgbClr val="C27700"/>
    </a:custClr>
    <a:custClr>
      <a:srgbClr val="F39500"/>
    </a:custClr>
    <a:custClr>
      <a:srgbClr val="F5AA33"/>
    </a:custClr>
    <a:custClr>
      <a:srgbClr val="F8BF66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76000E"/>
    </a:custClr>
    <a:custClr>
      <a:srgbClr val="9E0013"/>
    </a:custClr>
    <a:custClr>
      <a:srgbClr val="C50022"/>
    </a:custClr>
    <a:custClr>
      <a:srgbClr val="D13346"/>
    </a:custClr>
    <a:custClr>
      <a:srgbClr val="DC6674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14607E"/>
    </a:custClr>
    <a:custClr>
      <a:srgbClr val="1A80A8"/>
    </a:custClr>
    <a:custClr>
      <a:srgbClr val="21A0D2"/>
    </a:custClr>
    <a:custClr>
      <a:srgbClr val="4DB3DB"/>
    </a:custClr>
    <a:custClr>
      <a:srgbClr val="7AC6E4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3D6712"/>
    </a:custClr>
    <a:custClr>
      <a:srgbClr val="518A18"/>
    </a:custClr>
    <a:custClr>
      <a:srgbClr val="65AC1E"/>
    </a:custClr>
    <a:custClr>
      <a:srgbClr val="84BD4B"/>
    </a:custClr>
    <a:custClr>
      <a:srgbClr val="A3CD78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923"/>
    </a:custClr>
    <a:custClr>
      <a:srgbClr val="00612E"/>
    </a:custClr>
    <a:custClr>
      <a:srgbClr val="00793A"/>
    </a:custClr>
    <a:custClr>
      <a:srgbClr val="339461"/>
    </a:custClr>
    <a:custClr>
      <a:srgbClr val="66AF89"/>
    </a:custClr>
    <a:custClr>
      <a:srgbClr val="CCCCCC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esentation3" id="{12DB8B05-5838-4D34-98C2-70B82FAC6FAE}" vid="{EF2FE934-BC1A-4D6C-A897-77AF5DCA7F1E}"/>
    </a:ext>
  </a:extLst>
</a:theme>
</file>

<file path=ppt/theme/theme3.xml><?xml version="1.0" encoding="utf-8"?>
<a:theme xmlns:a="http://schemas.openxmlformats.org/drawingml/2006/main" name="BASF_Finale_V10">
  <a:themeElements>
    <a:clrScheme name="">
      <a:dk1>
        <a:srgbClr val="000000"/>
      </a:dk1>
      <a:lt1>
        <a:srgbClr val="EAEAEA"/>
      </a:lt1>
      <a:dk2>
        <a:srgbClr val="336699"/>
      </a:dk2>
      <a:lt2>
        <a:srgbClr val="A9A9A9"/>
      </a:lt2>
      <a:accent1>
        <a:srgbClr val="21A0D2"/>
      </a:accent1>
      <a:accent2>
        <a:srgbClr val="5ABEE6"/>
      </a:accent2>
      <a:accent3>
        <a:srgbClr val="F3F3F3"/>
      </a:accent3>
      <a:accent4>
        <a:srgbClr val="000000"/>
      </a:accent4>
      <a:accent5>
        <a:srgbClr val="ABCDE5"/>
      </a:accent5>
      <a:accent6>
        <a:srgbClr val="51ACD0"/>
      </a:accent6>
      <a:hlink>
        <a:srgbClr val="95D5EF"/>
      </a:hlink>
      <a:folHlink>
        <a:srgbClr val="D7EFF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Standarddesign 1">
        <a:dk1>
          <a:srgbClr val="A9A9A9"/>
        </a:dk1>
        <a:lt1>
          <a:srgbClr val="FFFFFF"/>
        </a:lt1>
        <a:dk2>
          <a:srgbClr val="336699"/>
        </a:dk2>
        <a:lt2>
          <a:srgbClr val="000000"/>
        </a:lt2>
        <a:accent1>
          <a:srgbClr val="D7EFF9"/>
        </a:accent1>
        <a:accent2>
          <a:srgbClr val="95D5EF"/>
        </a:accent2>
        <a:accent3>
          <a:srgbClr val="ADB8CA"/>
        </a:accent3>
        <a:accent4>
          <a:srgbClr val="DADADA"/>
        </a:accent4>
        <a:accent5>
          <a:srgbClr val="E8F6FB"/>
        </a:accent5>
        <a:accent6>
          <a:srgbClr val="87C1D9"/>
        </a:accent6>
        <a:hlink>
          <a:srgbClr val="ACE1FE"/>
        </a:hlink>
        <a:folHlink>
          <a:srgbClr val="21A0D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D7EFF9"/>
        </a:lt1>
        <a:dk2>
          <a:srgbClr val="000000"/>
        </a:dk2>
        <a:lt2>
          <a:srgbClr val="A9A9A9"/>
        </a:lt2>
        <a:accent1>
          <a:srgbClr val="336699"/>
        </a:accent1>
        <a:accent2>
          <a:srgbClr val="21A0D2"/>
        </a:accent2>
        <a:accent3>
          <a:srgbClr val="E8F6FB"/>
        </a:accent3>
        <a:accent4>
          <a:srgbClr val="000000"/>
        </a:accent4>
        <a:accent5>
          <a:srgbClr val="ADB8CA"/>
        </a:accent5>
        <a:accent6>
          <a:srgbClr val="1D91BE"/>
        </a:accent6>
        <a:hlink>
          <a:srgbClr val="82DBFE"/>
        </a:hlink>
        <a:folHlink>
          <a:srgbClr val="95D5E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12DB8B05-5838-4D34-98C2-70B82FAC6FAE}" vid="{B29867AD-6656-4ECC-BD5C-EEF4AED821C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02</Words>
  <Application>Microsoft Office PowerPoint</Application>
  <PresentationFormat>On-screen Show (4:3)</PresentationFormat>
  <Paragraphs>372</Paragraphs>
  <Slides>32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2" baseType="lpstr">
      <vt:lpstr>Arial</vt:lpstr>
      <vt:lpstr>Calibri</vt:lpstr>
      <vt:lpstr>Calibri Light</vt:lpstr>
      <vt:lpstr>Wingdings</vt:lpstr>
      <vt:lpstr>Wingdings 3</vt:lpstr>
      <vt:lpstr>BASF_TitelDesign_V10</vt:lpstr>
      <vt:lpstr>BASF_FolienDesign_V10</vt:lpstr>
      <vt:lpstr>BASF_Finale_V10</vt:lpstr>
      <vt:lpstr>Office Theme</vt:lpstr>
      <vt:lpstr>think-cell Folie</vt:lpstr>
      <vt:lpstr>Next level RPA Modularized ML with post go-live RPA finance process</vt:lpstr>
      <vt:lpstr>PowerPoint Presentation</vt:lpstr>
      <vt:lpstr>Agenda</vt:lpstr>
      <vt:lpstr>Background on RPA &amp; ML</vt:lpstr>
      <vt:lpstr>PowerPoint Presentation</vt:lpstr>
      <vt:lpstr>Robotic Process Automation’s approach</vt:lpstr>
      <vt:lpstr>Machine Learning’s approach</vt:lpstr>
      <vt:lpstr>Case introduction</vt:lpstr>
      <vt:lpstr>Case background</vt:lpstr>
      <vt:lpstr>PowerPoint Presentation</vt:lpstr>
      <vt:lpstr>Enterprise technology adoption maturity</vt:lpstr>
      <vt:lpstr>PowerPoint Presentation</vt:lpstr>
      <vt:lpstr>Design in 4.0 era</vt:lpstr>
      <vt:lpstr>PowerPoint Presentation</vt:lpstr>
      <vt:lpstr>PowerPoint Presentation</vt:lpstr>
      <vt:lpstr>Live Demo</vt:lpstr>
      <vt:lpstr>Live Demo</vt:lpstr>
      <vt:lpstr>Live Dem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  <vt:lpstr>PowerPoint Presentation</vt:lpstr>
      <vt:lpstr>Smart Process Automation</vt:lpstr>
      <vt:lpstr>Machine Learning Techniques</vt:lpstr>
      <vt:lpstr>Current situation of UiPath on ML (1)</vt:lpstr>
      <vt:lpstr>Current situation of UiPath on ML (2)</vt:lpstr>
      <vt:lpstr>Current situation of UiPath on ML (2)</vt:lpstr>
      <vt:lpstr>RPA + ML life cycl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xt level RPA Modularized ML with post go-live RPA finance process</dc:title>
  <dc:creator>Trung Nguyen Ngoc Nam</dc:creator>
  <cp:lastModifiedBy>Trung Nguyen Ngoc Nam</cp:lastModifiedBy>
  <cp:revision>11</cp:revision>
  <dcterms:created xsi:type="dcterms:W3CDTF">2019-05-11T21:17:19Z</dcterms:created>
  <dcterms:modified xsi:type="dcterms:W3CDTF">2019-05-11T21:38:01Z</dcterms:modified>
</cp:coreProperties>
</file>